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heme/theme3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1.xml" ContentType="application/vnd.openxmlformats-officedocument.presentationml.notesSlide+xml"/>
  <Override PartName="/ppt/tags/tag6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7.xml" ContentType="application/vnd.openxmlformats-officedocument.presentationml.tags+xml"/>
  <Override PartName="/ppt/notesSlides/notesSlide4.xml" ContentType="application/vnd.openxmlformats-officedocument.presentationml.notesSlide+xml"/>
  <Override PartName="/ppt/tags/tag68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69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6"/>
    <p:sldMasterId id="2147483749" r:id="rId7"/>
  </p:sldMasterIdLst>
  <p:notesMasterIdLst>
    <p:notesMasterId r:id="rId32"/>
  </p:notesMasterIdLst>
  <p:sldIdLst>
    <p:sldId id="257" r:id="rId8"/>
    <p:sldId id="309" r:id="rId9"/>
    <p:sldId id="5183" r:id="rId10"/>
    <p:sldId id="310" r:id="rId11"/>
    <p:sldId id="6883" r:id="rId12"/>
    <p:sldId id="372" r:id="rId13"/>
    <p:sldId id="6853" r:id="rId14"/>
    <p:sldId id="6859" r:id="rId15"/>
    <p:sldId id="6885" r:id="rId16"/>
    <p:sldId id="6854" r:id="rId17"/>
    <p:sldId id="6844" r:id="rId18"/>
    <p:sldId id="271" r:id="rId19"/>
    <p:sldId id="5266" r:id="rId20"/>
    <p:sldId id="6873" r:id="rId21"/>
    <p:sldId id="6871" r:id="rId22"/>
    <p:sldId id="6860" r:id="rId23"/>
    <p:sldId id="328" r:id="rId24"/>
    <p:sldId id="6838" r:id="rId25"/>
    <p:sldId id="6840" r:id="rId26"/>
    <p:sldId id="6856" r:id="rId27"/>
    <p:sldId id="6831" r:id="rId28"/>
    <p:sldId id="6862" r:id="rId29"/>
    <p:sldId id="256" r:id="rId30"/>
    <p:sldId id="6858" r:id="rId31"/>
  </p:sldIdLst>
  <p:sldSz cx="10969625" cy="6170613"/>
  <p:notesSz cx="6858000" cy="9144000"/>
  <p:custDataLst>
    <p:tags r:id="rId33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1pPr>
    <a:lvl2pPr marL="41113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2pPr>
    <a:lvl3pPr marL="82227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3pPr>
    <a:lvl4pPr marL="123341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4pPr>
    <a:lvl5pPr marL="164454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5pPr>
    <a:lvl6pPr marL="2055686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6pPr>
    <a:lvl7pPr marL="2466823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7pPr>
    <a:lvl8pPr marL="2877960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8pPr>
    <a:lvl9pPr marL="3289097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D5A6DD9-0F92-4576-9145-E205315D0DFA}">
          <p14:sldIdLst>
            <p14:sldId id="257"/>
            <p14:sldId id="309"/>
            <p14:sldId id="5183"/>
            <p14:sldId id="310"/>
            <p14:sldId id="6883"/>
            <p14:sldId id="372"/>
            <p14:sldId id="6853"/>
            <p14:sldId id="6859"/>
            <p14:sldId id="6885"/>
            <p14:sldId id="6854"/>
            <p14:sldId id="6844"/>
            <p14:sldId id="271"/>
            <p14:sldId id="5266"/>
            <p14:sldId id="6873"/>
            <p14:sldId id="6871"/>
            <p14:sldId id="6860"/>
            <p14:sldId id="328"/>
            <p14:sldId id="6838"/>
            <p14:sldId id="6840"/>
            <p14:sldId id="6856"/>
            <p14:sldId id="6831"/>
            <p14:sldId id="6862"/>
            <p14:sldId id="256"/>
            <p14:sldId id="685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006600"/>
    <a:srgbClr val="CC0099"/>
    <a:srgbClr val="FFCC99"/>
    <a:srgbClr val="CC0066"/>
    <a:srgbClr val="993366"/>
    <a:srgbClr val="00CC99"/>
    <a:srgbClr val="008080"/>
    <a:srgbClr val="0066CC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91" d="100"/>
          <a:sy n="91" d="100"/>
        </p:scale>
        <p:origin x="715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21" Type="http://schemas.openxmlformats.org/officeDocument/2006/relationships/slide" Target="slides/slide14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2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viewProps" Target="viewProps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7966190-2BCE-42F6-9AEA-94287CC14F8E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D5A538E-AE80-4A05-8F62-8F6A615DDAD0}">
      <dgm:prSet phldrT="[Text]" custT="1"/>
      <dgm:spPr>
        <a:solidFill>
          <a:srgbClr val="C00C79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83820" tIns="41910" rIns="83820" bIns="41910" numCol="1" spcCol="1270" anchor="ctr" anchorCtr="0"/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>
              <a:solidFill>
                <a:prstClr val="white"/>
              </a:solidFill>
              <a:latin typeface="Bosch Office Sans"/>
              <a:ea typeface="+mn-ea"/>
              <a:cs typeface="+mn-cs"/>
            </a:rPr>
            <a:t>Contract Validity</a:t>
          </a:r>
        </a:p>
      </dgm:t>
    </dgm:pt>
    <dgm:pt modelId="{277930F5-193B-4589-824D-BEF8AB109DE4}" type="parTrans" cxnId="{94B2FB67-B8EB-47DF-A06C-FEA12639907A}">
      <dgm:prSet/>
      <dgm:spPr/>
      <dgm:t>
        <a:bodyPr/>
        <a:lstStyle/>
        <a:p>
          <a:endParaRPr lang="en-US"/>
        </a:p>
      </dgm:t>
    </dgm:pt>
    <dgm:pt modelId="{7B71F801-C43D-4EE9-81FE-E2D3C41C0D96}" type="sibTrans" cxnId="{94B2FB67-B8EB-47DF-A06C-FEA12639907A}">
      <dgm:prSet/>
      <dgm:spPr/>
      <dgm:t>
        <a:bodyPr/>
        <a:lstStyle/>
        <a:p>
          <a:endParaRPr lang="en-US"/>
        </a:p>
      </dgm:t>
    </dgm:pt>
    <dgm:pt modelId="{5E7F959A-804E-40EE-B9A1-58B80BE9605A}">
      <dgm:prSet phldrT="[Text]" custT="1"/>
      <dgm:spPr>
        <a:solidFill>
          <a:srgbClr val="18837E">
            <a:alpha val="90000"/>
          </a:srgbClr>
        </a:solidFill>
        <a:ln w="12700" cap="flat" cmpd="sng" algn="ctr">
          <a:solidFill>
            <a:srgbClr val="007BC0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60960" tIns="30480" rIns="60960" bIns="30480" numCol="1" spcCol="1270" anchor="ctr" anchorCtr="0"/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Bosch Office Sans"/>
              <a:ea typeface="+mn-ea"/>
              <a:cs typeface="+mn-cs"/>
            </a:rPr>
            <a:t>31.12.2026</a:t>
          </a:r>
        </a:p>
      </dgm:t>
    </dgm:pt>
    <dgm:pt modelId="{EDD9CC88-75F6-42BA-809F-F579CBC6843A}" type="parTrans" cxnId="{C52EF80C-60DC-4977-9841-5F0B49B50C5A}">
      <dgm:prSet/>
      <dgm:spPr/>
      <dgm:t>
        <a:bodyPr/>
        <a:lstStyle/>
        <a:p>
          <a:endParaRPr lang="en-US"/>
        </a:p>
      </dgm:t>
    </dgm:pt>
    <dgm:pt modelId="{EA9FD362-B063-4AA4-9548-2C93E3CFB6BF}" type="sibTrans" cxnId="{C52EF80C-60DC-4977-9841-5F0B49B50C5A}">
      <dgm:prSet/>
      <dgm:spPr/>
      <dgm:t>
        <a:bodyPr/>
        <a:lstStyle/>
        <a:p>
          <a:endParaRPr lang="en-US"/>
        </a:p>
      </dgm:t>
    </dgm:pt>
    <dgm:pt modelId="{7C013E6F-5FBD-49A6-8CAA-F81CBEEEE415}">
      <dgm:prSet phldrT="[Text]" custT="1"/>
      <dgm:spPr>
        <a:solidFill>
          <a:srgbClr val="C00C79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83820" tIns="41910" rIns="83820" bIns="41910" numCol="1" spcCol="1270" anchor="ctr" anchorCtr="0"/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>
              <a:solidFill>
                <a:prstClr val="white"/>
              </a:solidFill>
              <a:latin typeface="Bosch Office Sans"/>
              <a:ea typeface="+mn-ea"/>
              <a:cs typeface="+mn-cs"/>
            </a:rPr>
            <a:t>Tools &amp; Technology</a:t>
          </a:r>
        </a:p>
      </dgm:t>
    </dgm:pt>
    <dgm:pt modelId="{001CF280-44E4-4072-B380-B5FD585EBD7D}" type="parTrans" cxnId="{D8F3BB9C-E443-4D01-BE5E-133A665FD1A5}">
      <dgm:prSet/>
      <dgm:spPr/>
      <dgm:t>
        <a:bodyPr/>
        <a:lstStyle/>
        <a:p>
          <a:endParaRPr lang="en-US"/>
        </a:p>
      </dgm:t>
    </dgm:pt>
    <dgm:pt modelId="{93448846-1794-4CFC-AFC4-07514CD5072B}" type="sibTrans" cxnId="{D8F3BB9C-E443-4D01-BE5E-133A665FD1A5}">
      <dgm:prSet/>
      <dgm:spPr/>
      <dgm:t>
        <a:bodyPr/>
        <a:lstStyle/>
        <a:p>
          <a:endParaRPr lang="en-US"/>
        </a:p>
      </dgm:t>
    </dgm:pt>
    <dgm:pt modelId="{9B4B3453-9883-4637-BE66-088C22A86FAD}">
      <dgm:prSet phldrT="[Text]" custT="1"/>
      <dgm:spPr>
        <a:solidFill>
          <a:srgbClr val="18837E">
            <a:alpha val="90000"/>
          </a:srgbClr>
        </a:solidFill>
        <a:ln w="12700" cap="flat" cmpd="sng" algn="ctr">
          <a:solidFill>
            <a:srgbClr val="007BC0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60960" tIns="30480" rIns="60960" bIns="30480" numCol="1" spcCol="1270" anchor="ctr" anchorCtr="0"/>
        <a:lstStyle/>
        <a:p>
          <a:r>
            <a:rPr lang="en-US" sz="1400"/>
            <a:t>Angular 20,HTML,CSS,NodeJS,C#,AzureDevOps,Robot Framework , Python</a:t>
          </a:r>
        </a:p>
      </dgm:t>
    </dgm:pt>
    <dgm:pt modelId="{0083E346-897C-45A9-B9F7-246B8979D57D}" type="parTrans" cxnId="{66B0E3B0-1676-43B8-8118-4F052B46031E}">
      <dgm:prSet/>
      <dgm:spPr/>
      <dgm:t>
        <a:bodyPr/>
        <a:lstStyle/>
        <a:p>
          <a:endParaRPr lang="en-US"/>
        </a:p>
      </dgm:t>
    </dgm:pt>
    <dgm:pt modelId="{105C37F5-F681-4C4C-B6C9-4EAEBEDCABE2}" type="sibTrans" cxnId="{66B0E3B0-1676-43B8-8118-4F052B46031E}">
      <dgm:prSet/>
      <dgm:spPr/>
      <dgm:t>
        <a:bodyPr/>
        <a:lstStyle/>
        <a:p>
          <a:endParaRPr lang="en-US"/>
        </a:p>
      </dgm:t>
    </dgm:pt>
    <dgm:pt modelId="{4866834F-55D4-440D-AEB3-A6C8A8F52869}">
      <dgm:prSet phldrT="[Text]" custT="1"/>
      <dgm:spPr>
        <a:solidFill>
          <a:srgbClr val="C00C79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83820" tIns="41910" rIns="83820" bIns="41910" numCol="1" spcCol="1270" anchor="ctr" anchorCtr="0"/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>
              <a:solidFill>
                <a:prstClr val="white"/>
              </a:solidFill>
              <a:latin typeface="Bosch Office Sans"/>
              <a:ea typeface="+mn-ea"/>
              <a:cs typeface="+mn-cs"/>
            </a:rPr>
            <a:t>Life-cycle</a:t>
          </a:r>
        </a:p>
      </dgm:t>
    </dgm:pt>
    <dgm:pt modelId="{361216B8-104D-4F4C-A3E4-7F3ABCCAA1DB}" type="parTrans" cxnId="{031AD487-111F-4DF0-8F2B-69A23A10D9B6}">
      <dgm:prSet/>
      <dgm:spPr/>
      <dgm:t>
        <a:bodyPr/>
        <a:lstStyle/>
        <a:p>
          <a:endParaRPr lang="en-US"/>
        </a:p>
      </dgm:t>
    </dgm:pt>
    <dgm:pt modelId="{66C44D5F-6349-4EC7-8FA5-4F99D126C568}" type="sibTrans" cxnId="{031AD487-111F-4DF0-8F2B-69A23A10D9B6}">
      <dgm:prSet/>
      <dgm:spPr/>
      <dgm:t>
        <a:bodyPr/>
        <a:lstStyle/>
        <a:p>
          <a:endParaRPr lang="en-US"/>
        </a:p>
      </dgm:t>
    </dgm:pt>
    <dgm:pt modelId="{D3F82614-B768-47D2-BC6E-80339C33ED46}">
      <dgm:prSet phldrT="[Text]" custT="1"/>
      <dgm:spPr>
        <a:solidFill>
          <a:srgbClr val="18837E">
            <a:alpha val="90000"/>
          </a:srgbClr>
        </a:solidFill>
        <a:ln w="12700" cap="flat" cmpd="sng" algn="ctr">
          <a:solidFill>
            <a:srgbClr val="007BC0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60960" tIns="30480" rIns="60960" bIns="30480" numCol="1" spcCol="1270" anchor="ctr" anchorCtr="0"/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Bosch Office Sans"/>
              <a:ea typeface="+mn-ea"/>
              <a:cs typeface="+mn-cs"/>
            </a:rPr>
            <a:t>Agile-Scrum (3 weeks sprint)</a:t>
          </a:r>
        </a:p>
      </dgm:t>
    </dgm:pt>
    <dgm:pt modelId="{F8EBD149-7AFA-4CA8-A361-C1BAFBB7AB69}" type="parTrans" cxnId="{1A7FA3CE-D8F1-4B94-9FEA-B46676E6880E}">
      <dgm:prSet/>
      <dgm:spPr/>
      <dgm:t>
        <a:bodyPr/>
        <a:lstStyle/>
        <a:p>
          <a:endParaRPr lang="en-US"/>
        </a:p>
      </dgm:t>
    </dgm:pt>
    <dgm:pt modelId="{6E50A7F6-EFBB-4BEB-8A43-281BC24CE957}" type="sibTrans" cxnId="{1A7FA3CE-D8F1-4B94-9FEA-B46676E6880E}">
      <dgm:prSet/>
      <dgm:spPr/>
      <dgm:t>
        <a:bodyPr/>
        <a:lstStyle/>
        <a:p>
          <a:endParaRPr lang="en-US"/>
        </a:p>
      </dgm:t>
    </dgm:pt>
    <dgm:pt modelId="{6453B0F0-D13E-4BA4-ABB1-44FA21EA26D8}" type="pres">
      <dgm:prSet presAssocID="{C7966190-2BCE-42F6-9AEA-94287CC14F8E}" presName="Name0" presStyleCnt="0">
        <dgm:presLayoutVars>
          <dgm:dir/>
          <dgm:animLvl val="lvl"/>
          <dgm:resizeHandles val="exact"/>
        </dgm:presLayoutVars>
      </dgm:prSet>
      <dgm:spPr/>
    </dgm:pt>
    <dgm:pt modelId="{2E877315-E74B-4BB9-95D3-D8698F6A4449}" type="pres">
      <dgm:prSet presAssocID="{2D5A538E-AE80-4A05-8F62-8F6A615DDAD0}" presName="linNode" presStyleCnt="0"/>
      <dgm:spPr/>
    </dgm:pt>
    <dgm:pt modelId="{00B1E6BE-5DA7-4C4E-8E10-FE50F9ED1B59}" type="pres">
      <dgm:prSet presAssocID="{2D5A538E-AE80-4A05-8F62-8F6A615DDAD0}" presName="parentText" presStyleLbl="node1" presStyleIdx="0" presStyleCnt="3">
        <dgm:presLayoutVars>
          <dgm:chMax val="1"/>
          <dgm:bulletEnabled val="1"/>
        </dgm:presLayoutVars>
      </dgm:prSet>
      <dgm:spPr>
        <a:xfrm>
          <a:off x="0" y="916"/>
          <a:ext cx="2685567" cy="605128"/>
        </a:xfrm>
        <a:prstGeom prst="roundRect">
          <a:avLst/>
        </a:prstGeom>
      </dgm:spPr>
    </dgm:pt>
    <dgm:pt modelId="{2081023C-3C8B-476B-B30E-F486D64B9EE4}" type="pres">
      <dgm:prSet presAssocID="{2D5A538E-AE80-4A05-8F62-8F6A615DDAD0}" presName="descendantText" presStyleLbl="alignAccFollowNode1" presStyleIdx="0" presStyleCnt="3" custLinFactNeighborY="0">
        <dgm:presLayoutVars>
          <dgm:bulletEnabled val="1"/>
        </dgm:presLayoutVars>
      </dgm:prSet>
      <dgm:spPr>
        <a:xfrm rot="5400000">
          <a:off x="4830687" y="-2083689"/>
          <a:ext cx="484103" cy="4774342"/>
        </a:xfrm>
        <a:prstGeom prst="round2SameRect">
          <a:avLst/>
        </a:prstGeom>
      </dgm:spPr>
    </dgm:pt>
    <dgm:pt modelId="{0A33A04F-4A9F-43EA-861A-E92F06DD1DB0}" type="pres">
      <dgm:prSet presAssocID="{7B71F801-C43D-4EE9-81FE-E2D3C41C0D96}" presName="sp" presStyleCnt="0"/>
      <dgm:spPr/>
    </dgm:pt>
    <dgm:pt modelId="{26019E70-5B30-4C17-8B5C-4A6A6E3325DF}" type="pres">
      <dgm:prSet presAssocID="{7C013E6F-5FBD-49A6-8CAA-F81CBEEEE415}" presName="linNode" presStyleCnt="0"/>
      <dgm:spPr/>
    </dgm:pt>
    <dgm:pt modelId="{B3B33808-52F0-4D3D-9C7D-A29A12AC2AC3}" type="pres">
      <dgm:prSet presAssocID="{7C013E6F-5FBD-49A6-8CAA-F81CBEEEE415}" presName="parentText" presStyleLbl="node1" presStyleIdx="1" presStyleCnt="3">
        <dgm:presLayoutVars>
          <dgm:chMax val="1"/>
          <dgm:bulletEnabled val="1"/>
        </dgm:presLayoutVars>
      </dgm:prSet>
      <dgm:spPr>
        <a:xfrm>
          <a:off x="0" y="636302"/>
          <a:ext cx="2685567" cy="605128"/>
        </a:xfrm>
        <a:prstGeom prst="roundRect">
          <a:avLst/>
        </a:prstGeom>
      </dgm:spPr>
    </dgm:pt>
    <dgm:pt modelId="{1B4FD0F0-ABB9-4CF6-B8BE-5EE125369A94}" type="pres">
      <dgm:prSet presAssocID="{7C013E6F-5FBD-49A6-8CAA-F81CBEEEE415}" presName="descendantText" presStyleLbl="alignAccFollowNode1" presStyleIdx="1" presStyleCnt="3" custScaleY="135398">
        <dgm:presLayoutVars>
          <dgm:bulletEnabled val="1"/>
        </dgm:presLayoutVars>
      </dgm:prSet>
      <dgm:spPr>
        <a:xfrm rot="5400000">
          <a:off x="4830687" y="-1448304"/>
          <a:ext cx="484103" cy="4774342"/>
        </a:xfrm>
        <a:prstGeom prst="round2SameRect">
          <a:avLst/>
        </a:prstGeom>
      </dgm:spPr>
    </dgm:pt>
    <dgm:pt modelId="{B74DB9D2-99F5-4364-842D-6ADF089CF24B}" type="pres">
      <dgm:prSet presAssocID="{93448846-1794-4CFC-AFC4-07514CD5072B}" presName="sp" presStyleCnt="0"/>
      <dgm:spPr/>
    </dgm:pt>
    <dgm:pt modelId="{2F08CBAD-1075-4235-AF6C-2BA1F9662BE3}" type="pres">
      <dgm:prSet presAssocID="{4866834F-55D4-440D-AEB3-A6C8A8F52869}" presName="linNode" presStyleCnt="0"/>
      <dgm:spPr/>
    </dgm:pt>
    <dgm:pt modelId="{1242BC0A-7FF6-430A-9072-81F7DB367624}" type="pres">
      <dgm:prSet presAssocID="{4866834F-55D4-440D-AEB3-A6C8A8F52869}" presName="parentText" presStyleLbl="node1" presStyleIdx="2" presStyleCnt="3" custLinFactNeighborX="-1978" custLinFactNeighborY="-3283">
        <dgm:presLayoutVars>
          <dgm:chMax val="1"/>
          <dgm:bulletEnabled val="1"/>
        </dgm:presLayoutVars>
      </dgm:prSet>
      <dgm:spPr>
        <a:xfrm>
          <a:off x="0" y="1251820"/>
          <a:ext cx="2685567" cy="605128"/>
        </a:xfrm>
        <a:prstGeom prst="roundRect">
          <a:avLst/>
        </a:prstGeom>
      </dgm:spPr>
    </dgm:pt>
    <dgm:pt modelId="{1B3A3D83-3E23-42CF-9BC0-90FBFE46009F}" type="pres">
      <dgm:prSet presAssocID="{4866834F-55D4-440D-AEB3-A6C8A8F52869}" presName="descendantText" presStyleLbl="alignAccFollowNode1" presStyleIdx="2" presStyleCnt="3">
        <dgm:presLayoutVars>
          <dgm:bulletEnabled val="1"/>
        </dgm:presLayoutVars>
      </dgm:prSet>
      <dgm:spPr>
        <a:xfrm rot="5400000">
          <a:off x="4830687" y="-812919"/>
          <a:ext cx="484103" cy="4774342"/>
        </a:xfrm>
        <a:prstGeom prst="round2SameRect">
          <a:avLst/>
        </a:prstGeom>
      </dgm:spPr>
    </dgm:pt>
  </dgm:ptLst>
  <dgm:cxnLst>
    <dgm:cxn modelId="{7581ED0C-D0DF-46EB-87CF-5B72AE573B73}" type="presOf" srcId="{C7966190-2BCE-42F6-9AEA-94287CC14F8E}" destId="{6453B0F0-D13E-4BA4-ABB1-44FA21EA26D8}" srcOrd="0" destOrd="0" presId="urn:microsoft.com/office/officeart/2005/8/layout/vList5"/>
    <dgm:cxn modelId="{C52EF80C-60DC-4977-9841-5F0B49B50C5A}" srcId="{2D5A538E-AE80-4A05-8F62-8F6A615DDAD0}" destId="{5E7F959A-804E-40EE-B9A1-58B80BE9605A}" srcOrd="0" destOrd="0" parTransId="{EDD9CC88-75F6-42BA-809F-F579CBC6843A}" sibTransId="{EA9FD362-B063-4AA4-9548-2C93E3CFB6BF}"/>
    <dgm:cxn modelId="{4149F615-0283-4300-B9EA-AF7166333FBF}" type="presOf" srcId="{7C013E6F-5FBD-49A6-8CAA-F81CBEEEE415}" destId="{B3B33808-52F0-4D3D-9C7D-A29A12AC2AC3}" srcOrd="0" destOrd="0" presId="urn:microsoft.com/office/officeart/2005/8/layout/vList5"/>
    <dgm:cxn modelId="{FFCF6334-BC1C-4240-8B01-8B77F0565A95}" type="presOf" srcId="{5E7F959A-804E-40EE-B9A1-58B80BE9605A}" destId="{2081023C-3C8B-476B-B30E-F486D64B9EE4}" srcOrd="0" destOrd="0" presId="urn:microsoft.com/office/officeart/2005/8/layout/vList5"/>
    <dgm:cxn modelId="{61A1D740-2647-40F9-8CDF-9A3C701DDF6E}" type="presOf" srcId="{9B4B3453-9883-4637-BE66-088C22A86FAD}" destId="{1B4FD0F0-ABB9-4CF6-B8BE-5EE125369A94}" srcOrd="0" destOrd="0" presId="urn:microsoft.com/office/officeart/2005/8/layout/vList5"/>
    <dgm:cxn modelId="{EE8D6045-24C8-46F9-9725-25714CADEBFE}" type="presOf" srcId="{2D5A538E-AE80-4A05-8F62-8F6A615DDAD0}" destId="{00B1E6BE-5DA7-4C4E-8E10-FE50F9ED1B59}" srcOrd="0" destOrd="0" presId="urn:microsoft.com/office/officeart/2005/8/layout/vList5"/>
    <dgm:cxn modelId="{94B2FB67-B8EB-47DF-A06C-FEA12639907A}" srcId="{C7966190-2BCE-42F6-9AEA-94287CC14F8E}" destId="{2D5A538E-AE80-4A05-8F62-8F6A615DDAD0}" srcOrd="0" destOrd="0" parTransId="{277930F5-193B-4589-824D-BEF8AB109DE4}" sibTransId="{7B71F801-C43D-4EE9-81FE-E2D3C41C0D96}"/>
    <dgm:cxn modelId="{031AD487-111F-4DF0-8F2B-69A23A10D9B6}" srcId="{C7966190-2BCE-42F6-9AEA-94287CC14F8E}" destId="{4866834F-55D4-440D-AEB3-A6C8A8F52869}" srcOrd="2" destOrd="0" parTransId="{361216B8-104D-4F4C-A3E4-7F3ABCCAA1DB}" sibTransId="{66C44D5F-6349-4EC7-8FA5-4F99D126C568}"/>
    <dgm:cxn modelId="{D8F3BB9C-E443-4D01-BE5E-133A665FD1A5}" srcId="{C7966190-2BCE-42F6-9AEA-94287CC14F8E}" destId="{7C013E6F-5FBD-49A6-8CAA-F81CBEEEE415}" srcOrd="1" destOrd="0" parTransId="{001CF280-44E4-4072-B380-B5FD585EBD7D}" sibTransId="{93448846-1794-4CFC-AFC4-07514CD5072B}"/>
    <dgm:cxn modelId="{963014A9-041E-4D00-A88B-EF8B6844D9E0}" type="presOf" srcId="{4866834F-55D4-440D-AEB3-A6C8A8F52869}" destId="{1242BC0A-7FF6-430A-9072-81F7DB367624}" srcOrd="0" destOrd="0" presId="urn:microsoft.com/office/officeart/2005/8/layout/vList5"/>
    <dgm:cxn modelId="{1BC9E7AD-D584-48C3-B3BA-E01F5F79DA96}" type="presOf" srcId="{D3F82614-B768-47D2-BC6E-80339C33ED46}" destId="{1B3A3D83-3E23-42CF-9BC0-90FBFE46009F}" srcOrd="0" destOrd="0" presId="urn:microsoft.com/office/officeart/2005/8/layout/vList5"/>
    <dgm:cxn modelId="{66B0E3B0-1676-43B8-8118-4F052B46031E}" srcId="{7C013E6F-5FBD-49A6-8CAA-F81CBEEEE415}" destId="{9B4B3453-9883-4637-BE66-088C22A86FAD}" srcOrd="0" destOrd="0" parTransId="{0083E346-897C-45A9-B9F7-246B8979D57D}" sibTransId="{105C37F5-F681-4C4C-B6C9-4EAEBEDCABE2}"/>
    <dgm:cxn modelId="{1A7FA3CE-D8F1-4B94-9FEA-B46676E6880E}" srcId="{4866834F-55D4-440D-AEB3-A6C8A8F52869}" destId="{D3F82614-B768-47D2-BC6E-80339C33ED46}" srcOrd="0" destOrd="0" parTransId="{F8EBD149-7AFA-4CA8-A361-C1BAFBB7AB69}" sibTransId="{6E50A7F6-EFBB-4BEB-8A43-281BC24CE957}"/>
    <dgm:cxn modelId="{4F697F6C-EC3C-4959-8E5F-BF1350097F18}" type="presParOf" srcId="{6453B0F0-D13E-4BA4-ABB1-44FA21EA26D8}" destId="{2E877315-E74B-4BB9-95D3-D8698F6A4449}" srcOrd="0" destOrd="0" presId="urn:microsoft.com/office/officeart/2005/8/layout/vList5"/>
    <dgm:cxn modelId="{3ED70778-7E57-4A02-AF73-98C875F7EC48}" type="presParOf" srcId="{2E877315-E74B-4BB9-95D3-D8698F6A4449}" destId="{00B1E6BE-5DA7-4C4E-8E10-FE50F9ED1B59}" srcOrd="0" destOrd="0" presId="urn:microsoft.com/office/officeart/2005/8/layout/vList5"/>
    <dgm:cxn modelId="{0DCB19BF-EE8E-45B5-93D1-095BFB2B475C}" type="presParOf" srcId="{2E877315-E74B-4BB9-95D3-D8698F6A4449}" destId="{2081023C-3C8B-476B-B30E-F486D64B9EE4}" srcOrd="1" destOrd="0" presId="urn:microsoft.com/office/officeart/2005/8/layout/vList5"/>
    <dgm:cxn modelId="{C951316F-C6BA-4558-BA79-2DCAA277315D}" type="presParOf" srcId="{6453B0F0-D13E-4BA4-ABB1-44FA21EA26D8}" destId="{0A33A04F-4A9F-43EA-861A-E92F06DD1DB0}" srcOrd="1" destOrd="0" presId="urn:microsoft.com/office/officeart/2005/8/layout/vList5"/>
    <dgm:cxn modelId="{78E07E33-4C02-40BB-8892-A6E5B816FE83}" type="presParOf" srcId="{6453B0F0-D13E-4BA4-ABB1-44FA21EA26D8}" destId="{26019E70-5B30-4C17-8B5C-4A6A6E3325DF}" srcOrd="2" destOrd="0" presId="urn:microsoft.com/office/officeart/2005/8/layout/vList5"/>
    <dgm:cxn modelId="{BC375ADC-B15B-4430-BE77-306F7788A4D7}" type="presParOf" srcId="{26019E70-5B30-4C17-8B5C-4A6A6E3325DF}" destId="{B3B33808-52F0-4D3D-9C7D-A29A12AC2AC3}" srcOrd="0" destOrd="0" presId="urn:microsoft.com/office/officeart/2005/8/layout/vList5"/>
    <dgm:cxn modelId="{32E58225-AFC9-4457-8463-C4869B597B8B}" type="presParOf" srcId="{26019E70-5B30-4C17-8B5C-4A6A6E3325DF}" destId="{1B4FD0F0-ABB9-4CF6-B8BE-5EE125369A94}" srcOrd="1" destOrd="0" presId="urn:microsoft.com/office/officeart/2005/8/layout/vList5"/>
    <dgm:cxn modelId="{9F9592A9-2B7B-4C03-A7A8-8D7A52CEBB02}" type="presParOf" srcId="{6453B0F0-D13E-4BA4-ABB1-44FA21EA26D8}" destId="{B74DB9D2-99F5-4364-842D-6ADF089CF24B}" srcOrd="3" destOrd="0" presId="urn:microsoft.com/office/officeart/2005/8/layout/vList5"/>
    <dgm:cxn modelId="{C2E3B143-2BEF-4094-8CEC-E3F5F0526506}" type="presParOf" srcId="{6453B0F0-D13E-4BA4-ABB1-44FA21EA26D8}" destId="{2F08CBAD-1075-4235-AF6C-2BA1F9662BE3}" srcOrd="4" destOrd="0" presId="urn:microsoft.com/office/officeart/2005/8/layout/vList5"/>
    <dgm:cxn modelId="{3C2FAE00-22EC-4594-9C00-4B250F2C43FD}" type="presParOf" srcId="{2F08CBAD-1075-4235-AF6C-2BA1F9662BE3}" destId="{1242BC0A-7FF6-430A-9072-81F7DB367624}" srcOrd="0" destOrd="0" presId="urn:microsoft.com/office/officeart/2005/8/layout/vList5"/>
    <dgm:cxn modelId="{647FF8FA-A7D2-498F-81FB-A24AD1306A2C}" type="presParOf" srcId="{2F08CBAD-1075-4235-AF6C-2BA1F9662BE3}" destId="{1B3A3D83-3E23-42CF-9BC0-90FBFE46009F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7966190-2BCE-42F6-9AEA-94287CC14F8E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D5A538E-AE80-4A05-8F62-8F6A615DDAD0}">
      <dgm:prSet phldrT="[Text]"/>
      <dgm:spPr>
        <a:solidFill>
          <a:srgbClr val="C00C79"/>
        </a:solidFill>
      </dgm:spPr>
      <dgm:t>
        <a:bodyPr/>
        <a:lstStyle/>
        <a:p>
          <a:r>
            <a:rPr lang="en-US"/>
            <a:t>Project Name</a:t>
          </a:r>
        </a:p>
      </dgm:t>
    </dgm:pt>
    <dgm:pt modelId="{277930F5-193B-4589-824D-BEF8AB109DE4}" type="parTrans" cxnId="{94B2FB67-B8EB-47DF-A06C-FEA12639907A}">
      <dgm:prSet/>
      <dgm:spPr/>
      <dgm:t>
        <a:bodyPr/>
        <a:lstStyle/>
        <a:p>
          <a:endParaRPr lang="en-US"/>
        </a:p>
      </dgm:t>
    </dgm:pt>
    <dgm:pt modelId="{7B71F801-C43D-4EE9-81FE-E2D3C41C0D96}" type="sibTrans" cxnId="{94B2FB67-B8EB-47DF-A06C-FEA12639907A}">
      <dgm:prSet/>
      <dgm:spPr/>
      <dgm:t>
        <a:bodyPr/>
        <a:lstStyle/>
        <a:p>
          <a:endParaRPr lang="en-US"/>
        </a:p>
      </dgm:t>
    </dgm:pt>
    <dgm:pt modelId="{5E7F959A-804E-40EE-B9A1-58B80BE9605A}">
      <dgm:prSet phldrT="[Text]"/>
      <dgm:spPr>
        <a:solidFill>
          <a:srgbClr val="18837E">
            <a:alpha val="90000"/>
          </a:srgbClr>
        </a:solidFill>
      </dgm:spPr>
      <dgm:t>
        <a:bodyPr/>
        <a:lstStyle/>
        <a:p>
          <a:r>
            <a:rPr lang="en-US" b="1" i="0"/>
            <a:t>MS-107317_</a:t>
          </a:r>
          <a:r>
            <a:rPr lang="en-US" b="1" i="0">
              <a:latin typeface="Bosch Office Sans"/>
            </a:rPr>
            <a:t>LuxaOSLuxaMatrix</a:t>
          </a:r>
          <a:endParaRPr lang="en-US"/>
        </a:p>
      </dgm:t>
    </dgm:pt>
    <dgm:pt modelId="{EDD9CC88-75F6-42BA-809F-F579CBC6843A}" type="parTrans" cxnId="{C52EF80C-60DC-4977-9841-5F0B49B50C5A}">
      <dgm:prSet/>
      <dgm:spPr/>
      <dgm:t>
        <a:bodyPr/>
        <a:lstStyle/>
        <a:p>
          <a:endParaRPr lang="en-US"/>
        </a:p>
      </dgm:t>
    </dgm:pt>
    <dgm:pt modelId="{EA9FD362-B063-4AA4-9548-2C93E3CFB6BF}" type="sibTrans" cxnId="{C52EF80C-60DC-4977-9841-5F0B49B50C5A}">
      <dgm:prSet/>
      <dgm:spPr/>
      <dgm:t>
        <a:bodyPr/>
        <a:lstStyle/>
        <a:p>
          <a:endParaRPr lang="en-US"/>
        </a:p>
      </dgm:t>
    </dgm:pt>
    <dgm:pt modelId="{7C013E6F-5FBD-49A6-8CAA-F81CBEEEE415}">
      <dgm:prSet phldrT="[Text]" custT="1"/>
      <dgm:spPr>
        <a:solidFill>
          <a:srgbClr val="C00C79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83820" tIns="41910" rIns="83820" bIns="41910" numCol="1" spcCol="1270" anchor="ctr" anchorCtr="0"/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>
              <a:latin typeface="Bosch Office Sans"/>
              <a:ea typeface="+mn-ea"/>
              <a:cs typeface="+mn-cs"/>
            </a:rPr>
            <a:t>Team Size &amp; Project Category</a:t>
          </a:r>
        </a:p>
      </dgm:t>
    </dgm:pt>
    <dgm:pt modelId="{001CF280-44E4-4072-B380-B5FD585EBD7D}" type="parTrans" cxnId="{D8F3BB9C-E443-4D01-BE5E-133A665FD1A5}">
      <dgm:prSet/>
      <dgm:spPr/>
      <dgm:t>
        <a:bodyPr/>
        <a:lstStyle/>
        <a:p>
          <a:endParaRPr lang="en-US"/>
        </a:p>
      </dgm:t>
    </dgm:pt>
    <dgm:pt modelId="{93448846-1794-4CFC-AFC4-07514CD5072B}" type="sibTrans" cxnId="{D8F3BB9C-E443-4D01-BE5E-133A665FD1A5}">
      <dgm:prSet/>
      <dgm:spPr/>
      <dgm:t>
        <a:bodyPr/>
        <a:lstStyle/>
        <a:p>
          <a:endParaRPr lang="en-US"/>
        </a:p>
      </dgm:t>
    </dgm:pt>
    <dgm:pt modelId="{9B4B3453-9883-4637-BE66-088C22A86FAD}">
      <dgm:prSet phldrT="[Text]"/>
      <dgm:spPr>
        <a:solidFill>
          <a:srgbClr val="18837E">
            <a:alpha val="90000"/>
          </a:srgbClr>
        </a:solidFill>
        <a:ln w="12700" cap="flat" cmpd="sng" algn="ctr">
          <a:solidFill>
            <a:srgbClr val="007BC0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60960" tIns="30480" rIns="60960" bIns="30480" numCol="1" spcCol="1270" anchor="ctr" anchorCtr="0"/>
        <a:lstStyle/>
        <a:p>
          <a:pPr rtl="0"/>
          <a:r>
            <a:rPr lang="en-US"/>
            <a:t>Team Size – 8</a:t>
          </a:r>
          <a:endParaRPr lang="en-US">
            <a:highlight>
              <a:srgbClr val="FFFF00"/>
            </a:highlight>
          </a:endParaRPr>
        </a:p>
      </dgm:t>
    </dgm:pt>
    <dgm:pt modelId="{0083E346-897C-45A9-B9F7-246B8979D57D}" type="parTrans" cxnId="{66B0E3B0-1676-43B8-8118-4F052B46031E}">
      <dgm:prSet/>
      <dgm:spPr/>
      <dgm:t>
        <a:bodyPr/>
        <a:lstStyle/>
        <a:p>
          <a:endParaRPr lang="en-US"/>
        </a:p>
      </dgm:t>
    </dgm:pt>
    <dgm:pt modelId="{105C37F5-F681-4C4C-B6C9-4EAEBEDCABE2}" type="sibTrans" cxnId="{66B0E3B0-1676-43B8-8118-4F052B46031E}">
      <dgm:prSet/>
      <dgm:spPr/>
      <dgm:t>
        <a:bodyPr/>
        <a:lstStyle/>
        <a:p>
          <a:endParaRPr lang="en-US"/>
        </a:p>
      </dgm:t>
    </dgm:pt>
    <dgm:pt modelId="{4866834F-55D4-440D-AEB3-A6C8A8F52869}">
      <dgm:prSet phldrT="[Text]" custT="1"/>
      <dgm:spPr>
        <a:solidFill>
          <a:srgbClr val="C00C79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83820" tIns="41910" rIns="83820" bIns="41910" numCol="1" spcCol="1270" anchor="ctr" anchorCtr="0"/>
        <a:lstStyle/>
        <a:p>
          <a:r>
            <a:rPr lang="en-US" sz="2200" kern="1200">
              <a:latin typeface="Bosch Office Sans"/>
              <a:ea typeface="+mn-ea"/>
              <a:cs typeface="+mn-cs"/>
            </a:rPr>
            <a:t>Customer</a:t>
          </a:r>
        </a:p>
      </dgm:t>
    </dgm:pt>
    <dgm:pt modelId="{361216B8-104D-4F4C-A3E4-7F3ABCCAA1DB}" type="parTrans" cxnId="{031AD487-111F-4DF0-8F2B-69A23A10D9B6}">
      <dgm:prSet/>
      <dgm:spPr/>
      <dgm:t>
        <a:bodyPr/>
        <a:lstStyle/>
        <a:p>
          <a:endParaRPr lang="en-US"/>
        </a:p>
      </dgm:t>
    </dgm:pt>
    <dgm:pt modelId="{66C44D5F-6349-4EC7-8FA5-4F99D126C568}" type="sibTrans" cxnId="{031AD487-111F-4DF0-8F2B-69A23A10D9B6}">
      <dgm:prSet/>
      <dgm:spPr/>
      <dgm:t>
        <a:bodyPr/>
        <a:lstStyle/>
        <a:p>
          <a:endParaRPr lang="en-US"/>
        </a:p>
      </dgm:t>
    </dgm:pt>
    <dgm:pt modelId="{D3F82614-B768-47D2-BC6E-80339C33ED46}">
      <dgm:prSet phldrT="[Text]" custT="1"/>
      <dgm:spPr>
        <a:solidFill>
          <a:srgbClr val="18837E">
            <a:alpha val="90000"/>
          </a:srgbClr>
        </a:solidFill>
        <a:ln w="12700" cap="flat" cmpd="sng" algn="ctr">
          <a:solidFill>
            <a:srgbClr val="007BC0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60960" tIns="30480" rIns="60960" bIns="30480" numCol="1" spcCol="1270" anchor="ctr" anchorCtr="0"/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>
              <a:latin typeface="Bosch Office Sans"/>
              <a:ea typeface="+mn-ea"/>
              <a:cs typeface="+mn-cs"/>
            </a:rPr>
            <a:t>(DC-JS/ETI2)</a:t>
          </a:r>
        </a:p>
      </dgm:t>
    </dgm:pt>
    <dgm:pt modelId="{F8EBD149-7AFA-4CA8-A361-C1BAFBB7AB69}" type="parTrans" cxnId="{1A7FA3CE-D8F1-4B94-9FEA-B46676E6880E}">
      <dgm:prSet/>
      <dgm:spPr/>
      <dgm:t>
        <a:bodyPr/>
        <a:lstStyle/>
        <a:p>
          <a:endParaRPr lang="en-US"/>
        </a:p>
      </dgm:t>
    </dgm:pt>
    <dgm:pt modelId="{6E50A7F6-EFBB-4BEB-8A43-281BC24CE957}" type="sibTrans" cxnId="{1A7FA3CE-D8F1-4B94-9FEA-B46676E6880E}">
      <dgm:prSet/>
      <dgm:spPr/>
      <dgm:t>
        <a:bodyPr/>
        <a:lstStyle/>
        <a:p>
          <a:endParaRPr lang="en-US"/>
        </a:p>
      </dgm:t>
    </dgm:pt>
    <dgm:pt modelId="{894E731B-7112-450F-B445-2C246B3558DD}">
      <dgm:prSet phldrT="[Text]"/>
      <dgm:spPr>
        <a:solidFill>
          <a:srgbClr val="18837E">
            <a:alpha val="90000"/>
          </a:srgbClr>
        </a:solidFill>
        <a:ln w="12700" cap="flat" cmpd="sng" algn="ctr">
          <a:solidFill>
            <a:srgbClr val="007BC0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60960" tIns="30480" rIns="60960" bIns="30480" numCol="1" spcCol="1270" anchor="ctr" anchorCtr="0"/>
        <a:lstStyle/>
        <a:p>
          <a:r>
            <a:rPr lang="en-US"/>
            <a:t>Category – D</a:t>
          </a:r>
          <a:endParaRPr lang="en-US">
            <a:highlight>
              <a:srgbClr val="FFFF00"/>
            </a:highlight>
          </a:endParaRPr>
        </a:p>
      </dgm:t>
    </dgm:pt>
    <dgm:pt modelId="{A05351E7-AB0C-46CE-86FA-5E86D20997C0}" type="parTrans" cxnId="{31D9C8E2-360B-48FC-91DF-3CE6A636C8D0}">
      <dgm:prSet/>
      <dgm:spPr/>
      <dgm:t>
        <a:bodyPr/>
        <a:lstStyle/>
        <a:p>
          <a:endParaRPr lang="en-IN"/>
        </a:p>
      </dgm:t>
    </dgm:pt>
    <dgm:pt modelId="{0D60875E-087C-4D62-88B6-51FA52B265C3}" type="sibTrans" cxnId="{31D9C8E2-360B-48FC-91DF-3CE6A636C8D0}">
      <dgm:prSet/>
      <dgm:spPr/>
      <dgm:t>
        <a:bodyPr/>
        <a:lstStyle/>
        <a:p>
          <a:endParaRPr lang="en-IN"/>
        </a:p>
      </dgm:t>
    </dgm:pt>
    <dgm:pt modelId="{6453B0F0-D13E-4BA4-ABB1-44FA21EA26D8}" type="pres">
      <dgm:prSet presAssocID="{C7966190-2BCE-42F6-9AEA-94287CC14F8E}" presName="Name0" presStyleCnt="0">
        <dgm:presLayoutVars>
          <dgm:dir/>
          <dgm:animLvl val="lvl"/>
          <dgm:resizeHandles val="exact"/>
        </dgm:presLayoutVars>
      </dgm:prSet>
      <dgm:spPr/>
    </dgm:pt>
    <dgm:pt modelId="{2E877315-E74B-4BB9-95D3-D8698F6A4449}" type="pres">
      <dgm:prSet presAssocID="{2D5A538E-AE80-4A05-8F62-8F6A615DDAD0}" presName="linNode" presStyleCnt="0"/>
      <dgm:spPr/>
    </dgm:pt>
    <dgm:pt modelId="{00B1E6BE-5DA7-4C4E-8E10-FE50F9ED1B59}" type="pres">
      <dgm:prSet presAssocID="{2D5A538E-AE80-4A05-8F62-8F6A615DDAD0}" presName="parentText" presStyleLbl="node1" presStyleIdx="0" presStyleCnt="3">
        <dgm:presLayoutVars>
          <dgm:chMax val="1"/>
          <dgm:bulletEnabled val="1"/>
        </dgm:presLayoutVars>
      </dgm:prSet>
      <dgm:spPr/>
    </dgm:pt>
    <dgm:pt modelId="{2081023C-3C8B-476B-B30E-F486D64B9EE4}" type="pres">
      <dgm:prSet presAssocID="{2D5A538E-AE80-4A05-8F62-8F6A615DDAD0}" presName="descendantText" presStyleLbl="alignAccFollowNode1" presStyleIdx="0" presStyleCnt="3">
        <dgm:presLayoutVars>
          <dgm:bulletEnabled val="1"/>
        </dgm:presLayoutVars>
      </dgm:prSet>
      <dgm:spPr/>
    </dgm:pt>
    <dgm:pt modelId="{0A33A04F-4A9F-43EA-861A-E92F06DD1DB0}" type="pres">
      <dgm:prSet presAssocID="{7B71F801-C43D-4EE9-81FE-E2D3C41C0D96}" presName="sp" presStyleCnt="0"/>
      <dgm:spPr/>
    </dgm:pt>
    <dgm:pt modelId="{26019E70-5B30-4C17-8B5C-4A6A6E3325DF}" type="pres">
      <dgm:prSet presAssocID="{7C013E6F-5FBD-49A6-8CAA-F81CBEEEE415}" presName="linNode" presStyleCnt="0"/>
      <dgm:spPr/>
    </dgm:pt>
    <dgm:pt modelId="{B3B33808-52F0-4D3D-9C7D-A29A12AC2AC3}" type="pres">
      <dgm:prSet presAssocID="{7C013E6F-5FBD-49A6-8CAA-F81CBEEEE415}" presName="parentText" presStyleLbl="node1" presStyleIdx="1" presStyleCnt="3">
        <dgm:presLayoutVars>
          <dgm:chMax val="1"/>
          <dgm:bulletEnabled val="1"/>
        </dgm:presLayoutVars>
      </dgm:prSet>
      <dgm:spPr>
        <a:xfrm>
          <a:off x="0" y="798843"/>
          <a:ext cx="2685567" cy="759706"/>
        </a:xfrm>
        <a:prstGeom prst="roundRect">
          <a:avLst/>
        </a:prstGeom>
      </dgm:spPr>
    </dgm:pt>
    <dgm:pt modelId="{1B4FD0F0-ABB9-4CF6-B8BE-5EE125369A94}" type="pres">
      <dgm:prSet presAssocID="{7C013E6F-5FBD-49A6-8CAA-F81CBEEEE415}" presName="descendantText" presStyleLbl="alignAccFollowNode1" presStyleIdx="1" presStyleCnt="3">
        <dgm:presLayoutVars>
          <dgm:bulletEnabled val="1"/>
        </dgm:presLayoutVars>
      </dgm:prSet>
      <dgm:spPr>
        <a:xfrm rot="5400000">
          <a:off x="4768856" y="-1208475"/>
          <a:ext cx="607765" cy="4774343"/>
        </a:xfrm>
        <a:prstGeom prst="round2SameRect">
          <a:avLst/>
        </a:prstGeom>
      </dgm:spPr>
    </dgm:pt>
    <dgm:pt modelId="{B74DB9D2-99F5-4364-842D-6ADF089CF24B}" type="pres">
      <dgm:prSet presAssocID="{93448846-1794-4CFC-AFC4-07514CD5072B}" presName="sp" presStyleCnt="0"/>
      <dgm:spPr/>
    </dgm:pt>
    <dgm:pt modelId="{2F08CBAD-1075-4235-AF6C-2BA1F9662BE3}" type="pres">
      <dgm:prSet presAssocID="{4866834F-55D4-440D-AEB3-A6C8A8F52869}" presName="linNode" presStyleCnt="0"/>
      <dgm:spPr/>
    </dgm:pt>
    <dgm:pt modelId="{1242BC0A-7FF6-430A-9072-81F7DB367624}" type="pres">
      <dgm:prSet presAssocID="{4866834F-55D4-440D-AEB3-A6C8A8F52869}" presName="parentText" presStyleLbl="node1" presStyleIdx="2" presStyleCnt="3" custLinFactNeighborX="0" custLinFactNeighborY="-1674">
        <dgm:presLayoutVars>
          <dgm:chMax val="1"/>
          <dgm:bulletEnabled val="1"/>
        </dgm:presLayoutVars>
      </dgm:prSet>
      <dgm:spPr>
        <a:xfrm>
          <a:off x="0" y="1583817"/>
          <a:ext cx="2685567" cy="759706"/>
        </a:xfrm>
        <a:prstGeom prst="roundRect">
          <a:avLst/>
        </a:prstGeom>
      </dgm:spPr>
    </dgm:pt>
    <dgm:pt modelId="{1B3A3D83-3E23-42CF-9BC0-90FBFE46009F}" type="pres">
      <dgm:prSet presAssocID="{4866834F-55D4-440D-AEB3-A6C8A8F52869}" presName="descendantText" presStyleLbl="alignAccFollowNode1" presStyleIdx="2" presStyleCnt="3">
        <dgm:presLayoutVars>
          <dgm:bulletEnabled val="1"/>
        </dgm:presLayoutVars>
      </dgm:prSet>
      <dgm:spPr>
        <a:xfrm rot="5400000">
          <a:off x="4768856" y="-410782"/>
          <a:ext cx="607765" cy="4774343"/>
        </a:xfrm>
        <a:prstGeom prst="round2SameRect">
          <a:avLst/>
        </a:prstGeom>
      </dgm:spPr>
    </dgm:pt>
  </dgm:ptLst>
  <dgm:cxnLst>
    <dgm:cxn modelId="{C52EF80C-60DC-4977-9841-5F0B49B50C5A}" srcId="{2D5A538E-AE80-4A05-8F62-8F6A615DDAD0}" destId="{5E7F959A-804E-40EE-B9A1-58B80BE9605A}" srcOrd="0" destOrd="0" parTransId="{EDD9CC88-75F6-42BA-809F-F579CBC6843A}" sibTransId="{EA9FD362-B063-4AA4-9548-2C93E3CFB6BF}"/>
    <dgm:cxn modelId="{9F940730-A130-4217-8E17-E2ABE633A222}" type="presOf" srcId="{C7966190-2BCE-42F6-9AEA-94287CC14F8E}" destId="{6453B0F0-D13E-4BA4-ABB1-44FA21EA26D8}" srcOrd="0" destOrd="0" presId="urn:microsoft.com/office/officeart/2005/8/layout/vList5"/>
    <dgm:cxn modelId="{B098B533-1678-4278-9FBD-FD56E8BC5248}" type="presOf" srcId="{5E7F959A-804E-40EE-B9A1-58B80BE9605A}" destId="{2081023C-3C8B-476B-B30E-F486D64B9EE4}" srcOrd="0" destOrd="0" presId="urn:microsoft.com/office/officeart/2005/8/layout/vList5"/>
    <dgm:cxn modelId="{85F38266-4BCB-46BC-8627-0F533C1BEADB}" type="presOf" srcId="{4866834F-55D4-440D-AEB3-A6C8A8F52869}" destId="{1242BC0A-7FF6-430A-9072-81F7DB367624}" srcOrd="0" destOrd="0" presId="urn:microsoft.com/office/officeart/2005/8/layout/vList5"/>
    <dgm:cxn modelId="{94B2FB67-B8EB-47DF-A06C-FEA12639907A}" srcId="{C7966190-2BCE-42F6-9AEA-94287CC14F8E}" destId="{2D5A538E-AE80-4A05-8F62-8F6A615DDAD0}" srcOrd="0" destOrd="0" parTransId="{277930F5-193B-4589-824D-BEF8AB109DE4}" sibTransId="{7B71F801-C43D-4EE9-81FE-E2D3C41C0D96}"/>
    <dgm:cxn modelId="{A198214B-64A0-4B55-899B-4E8E152ED543}" type="presOf" srcId="{D3F82614-B768-47D2-BC6E-80339C33ED46}" destId="{1B3A3D83-3E23-42CF-9BC0-90FBFE46009F}" srcOrd="0" destOrd="0" presId="urn:microsoft.com/office/officeart/2005/8/layout/vList5"/>
    <dgm:cxn modelId="{58F93A4C-6978-4376-B343-1A3D3F011BE4}" type="presOf" srcId="{894E731B-7112-450F-B445-2C246B3558DD}" destId="{1B4FD0F0-ABB9-4CF6-B8BE-5EE125369A94}" srcOrd="0" destOrd="1" presId="urn:microsoft.com/office/officeart/2005/8/layout/vList5"/>
    <dgm:cxn modelId="{031AD487-111F-4DF0-8F2B-69A23A10D9B6}" srcId="{C7966190-2BCE-42F6-9AEA-94287CC14F8E}" destId="{4866834F-55D4-440D-AEB3-A6C8A8F52869}" srcOrd="2" destOrd="0" parTransId="{361216B8-104D-4F4C-A3E4-7F3ABCCAA1DB}" sibTransId="{66C44D5F-6349-4EC7-8FA5-4F99D126C568}"/>
    <dgm:cxn modelId="{D8F3BB9C-E443-4D01-BE5E-133A665FD1A5}" srcId="{C7966190-2BCE-42F6-9AEA-94287CC14F8E}" destId="{7C013E6F-5FBD-49A6-8CAA-F81CBEEEE415}" srcOrd="1" destOrd="0" parTransId="{001CF280-44E4-4072-B380-B5FD585EBD7D}" sibTransId="{93448846-1794-4CFC-AFC4-07514CD5072B}"/>
    <dgm:cxn modelId="{C75B26B0-A9C7-4E3C-A38B-89A1C21CC183}" type="presOf" srcId="{2D5A538E-AE80-4A05-8F62-8F6A615DDAD0}" destId="{00B1E6BE-5DA7-4C4E-8E10-FE50F9ED1B59}" srcOrd="0" destOrd="0" presId="urn:microsoft.com/office/officeart/2005/8/layout/vList5"/>
    <dgm:cxn modelId="{66B0E3B0-1676-43B8-8118-4F052B46031E}" srcId="{7C013E6F-5FBD-49A6-8CAA-F81CBEEEE415}" destId="{9B4B3453-9883-4637-BE66-088C22A86FAD}" srcOrd="0" destOrd="0" parTransId="{0083E346-897C-45A9-B9F7-246B8979D57D}" sibTransId="{105C37F5-F681-4C4C-B6C9-4EAEBEDCABE2}"/>
    <dgm:cxn modelId="{1A7FA3CE-D8F1-4B94-9FEA-B46676E6880E}" srcId="{4866834F-55D4-440D-AEB3-A6C8A8F52869}" destId="{D3F82614-B768-47D2-BC6E-80339C33ED46}" srcOrd="0" destOrd="0" parTransId="{F8EBD149-7AFA-4CA8-A361-C1BAFBB7AB69}" sibTransId="{6E50A7F6-EFBB-4BEB-8A43-281BC24CE957}"/>
    <dgm:cxn modelId="{B13930DA-93BA-46CD-8CAD-88FC2CF1B8E9}" type="presOf" srcId="{9B4B3453-9883-4637-BE66-088C22A86FAD}" destId="{1B4FD0F0-ABB9-4CF6-B8BE-5EE125369A94}" srcOrd="0" destOrd="0" presId="urn:microsoft.com/office/officeart/2005/8/layout/vList5"/>
    <dgm:cxn modelId="{8B04FDDF-A09E-408D-9A8F-E80A68C55A64}" type="presOf" srcId="{7C013E6F-5FBD-49A6-8CAA-F81CBEEEE415}" destId="{B3B33808-52F0-4D3D-9C7D-A29A12AC2AC3}" srcOrd="0" destOrd="0" presId="urn:microsoft.com/office/officeart/2005/8/layout/vList5"/>
    <dgm:cxn modelId="{31D9C8E2-360B-48FC-91DF-3CE6A636C8D0}" srcId="{7C013E6F-5FBD-49A6-8CAA-F81CBEEEE415}" destId="{894E731B-7112-450F-B445-2C246B3558DD}" srcOrd="1" destOrd="0" parTransId="{A05351E7-AB0C-46CE-86FA-5E86D20997C0}" sibTransId="{0D60875E-087C-4D62-88B6-51FA52B265C3}"/>
    <dgm:cxn modelId="{F94067F6-2DF1-4BF4-B48D-07B49E5A10C7}" type="presParOf" srcId="{6453B0F0-D13E-4BA4-ABB1-44FA21EA26D8}" destId="{2E877315-E74B-4BB9-95D3-D8698F6A4449}" srcOrd="0" destOrd="0" presId="urn:microsoft.com/office/officeart/2005/8/layout/vList5"/>
    <dgm:cxn modelId="{E043A616-2CA0-4D82-97B2-A9416943DA0C}" type="presParOf" srcId="{2E877315-E74B-4BB9-95D3-D8698F6A4449}" destId="{00B1E6BE-5DA7-4C4E-8E10-FE50F9ED1B59}" srcOrd="0" destOrd="0" presId="urn:microsoft.com/office/officeart/2005/8/layout/vList5"/>
    <dgm:cxn modelId="{8A67B5CE-D452-4353-A988-568626A17E79}" type="presParOf" srcId="{2E877315-E74B-4BB9-95D3-D8698F6A4449}" destId="{2081023C-3C8B-476B-B30E-F486D64B9EE4}" srcOrd="1" destOrd="0" presId="urn:microsoft.com/office/officeart/2005/8/layout/vList5"/>
    <dgm:cxn modelId="{B92A0695-B465-40F7-81BB-3D52DCE16216}" type="presParOf" srcId="{6453B0F0-D13E-4BA4-ABB1-44FA21EA26D8}" destId="{0A33A04F-4A9F-43EA-861A-E92F06DD1DB0}" srcOrd="1" destOrd="0" presId="urn:microsoft.com/office/officeart/2005/8/layout/vList5"/>
    <dgm:cxn modelId="{CD99F0E4-EA8F-4394-ACA0-BC0EFF689438}" type="presParOf" srcId="{6453B0F0-D13E-4BA4-ABB1-44FA21EA26D8}" destId="{26019E70-5B30-4C17-8B5C-4A6A6E3325DF}" srcOrd="2" destOrd="0" presId="urn:microsoft.com/office/officeart/2005/8/layout/vList5"/>
    <dgm:cxn modelId="{98A4C042-1530-45EB-B6AE-1DC1806ECEA2}" type="presParOf" srcId="{26019E70-5B30-4C17-8B5C-4A6A6E3325DF}" destId="{B3B33808-52F0-4D3D-9C7D-A29A12AC2AC3}" srcOrd="0" destOrd="0" presId="urn:microsoft.com/office/officeart/2005/8/layout/vList5"/>
    <dgm:cxn modelId="{D662BA8D-C46E-4208-B7F7-BB32C410EF20}" type="presParOf" srcId="{26019E70-5B30-4C17-8B5C-4A6A6E3325DF}" destId="{1B4FD0F0-ABB9-4CF6-B8BE-5EE125369A94}" srcOrd="1" destOrd="0" presId="urn:microsoft.com/office/officeart/2005/8/layout/vList5"/>
    <dgm:cxn modelId="{822DA134-228F-48D4-8BBB-2199A81A9422}" type="presParOf" srcId="{6453B0F0-D13E-4BA4-ABB1-44FA21EA26D8}" destId="{B74DB9D2-99F5-4364-842D-6ADF089CF24B}" srcOrd="3" destOrd="0" presId="urn:microsoft.com/office/officeart/2005/8/layout/vList5"/>
    <dgm:cxn modelId="{5D9EDCC5-73DD-4F6F-B969-F495964D3A2F}" type="presParOf" srcId="{6453B0F0-D13E-4BA4-ABB1-44FA21EA26D8}" destId="{2F08CBAD-1075-4235-AF6C-2BA1F9662BE3}" srcOrd="4" destOrd="0" presId="urn:microsoft.com/office/officeart/2005/8/layout/vList5"/>
    <dgm:cxn modelId="{48AEC7F4-E756-404F-BA3C-BFE7DD2F75F9}" type="presParOf" srcId="{2F08CBAD-1075-4235-AF6C-2BA1F9662BE3}" destId="{1242BC0A-7FF6-430A-9072-81F7DB367624}" srcOrd="0" destOrd="0" presId="urn:microsoft.com/office/officeart/2005/8/layout/vList5"/>
    <dgm:cxn modelId="{8F12CFBF-F4A3-46D7-95F5-08F3916717B5}" type="presParOf" srcId="{2F08CBAD-1075-4235-AF6C-2BA1F9662BE3}" destId="{1B3A3D83-3E23-42CF-9BC0-90FBFE46009F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7966190-2BCE-42F6-9AEA-94287CC14F8E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453B0F0-D13E-4BA4-ABB1-44FA21EA26D8}" type="pres">
      <dgm:prSet presAssocID="{C7966190-2BCE-42F6-9AEA-94287CC14F8E}" presName="Name0" presStyleCnt="0">
        <dgm:presLayoutVars>
          <dgm:dir/>
          <dgm:animLvl val="lvl"/>
          <dgm:resizeHandles val="exact"/>
        </dgm:presLayoutVars>
      </dgm:prSet>
      <dgm:spPr/>
    </dgm:pt>
  </dgm:ptLst>
  <dgm:cxnLst>
    <dgm:cxn modelId="{7581ED0C-D0DF-46EB-87CF-5B72AE573B73}" type="presOf" srcId="{C7966190-2BCE-42F6-9AEA-94287CC14F8E}" destId="{6453B0F0-D13E-4BA4-ABB1-44FA21EA26D8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7966190-2BCE-42F6-9AEA-94287CC14F8E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453B0F0-D13E-4BA4-ABB1-44FA21EA26D8}" type="pres">
      <dgm:prSet presAssocID="{C7966190-2BCE-42F6-9AEA-94287CC14F8E}" presName="Name0" presStyleCnt="0">
        <dgm:presLayoutVars>
          <dgm:dir/>
          <dgm:animLvl val="lvl"/>
          <dgm:resizeHandles val="exact"/>
        </dgm:presLayoutVars>
      </dgm:prSet>
      <dgm:spPr/>
    </dgm:pt>
  </dgm:ptLst>
  <dgm:cxnLst>
    <dgm:cxn modelId="{9F940730-A130-4217-8E17-E2ABE633A222}" type="presOf" srcId="{C7966190-2BCE-42F6-9AEA-94287CC14F8E}" destId="{6453B0F0-D13E-4BA4-ABB1-44FA21EA26D8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81023C-3C8B-476B-B30E-F486D64B9EE4}">
      <dsp:nvSpPr>
        <dsp:cNvPr id="0" name=""/>
        <dsp:cNvSpPr/>
      </dsp:nvSpPr>
      <dsp:spPr>
        <a:xfrm rot="5400000">
          <a:off x="4836921" y="-2091844"/>
          <a:ext cx="471633" cy="4774342"/>
        </a:xfrm>
        <a:prstGeom prst="round2SameRect">
          <a:avLst/>
        </a:prstGeom>
        <a:solidFill>
          <a:srgbClr val="18837E">
            <a:alpha val="90000"/>
          </a:srgbClr>
        </a:solidFill>
        <a:ln w="12700" cap="flat" cmpd="sng" algn="ctr">
          <a:solidFill>
            <a:srgbClr val="007BC0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Bosch Office Sans"/>
              <a:ea typeface="+mn-ea"/>
              <a:cs typeface="+mn-cs"/>
            </a:rPr>
            <a:t>31.12.2026</a:t>
          </a:r>
        </a:p>
      </dsp:txBody>
      <dsp:txXfrm rot="-5400000">
        <a:off x="2685567" y="82533"/>
        <a:ext cx="4751319" cy="425587"/>
      </dsp:txXfrm>
    </dsp:sp>
    <dsp:sp modelId="{00B1E6BE-5DA7-4C4E-8E10-FE50F9ED1B59}">
      <dsp:nvSpPr>
        <dsp:cNvPr id="0" name=""/>
        <dsp:cNvSpPr/>
      </dsp:nvSpPr>
      <dsp:spPr>
        <a:xfrm>
          <a:off x="0" y="555"/>
          <a:ext cx="2685567" cy="589542"/>
        </a:xfrm>
        <a:prstGeom prst="roundRect">
          <a:avLst/>
        </a:prstGeom>
        <a:solidFill>
          <a:srgbClr val="C00C79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>
              <a:solidFill>
                <a:prstClr val="white"/>
              </a:solidFill>
              <a:latin typeface="Bosch Office Sans"/>
              <a:ea typeface="+mn-ea"/>
              <a:cs typeface="+mn-cs"/>
            </a:rPr>
            <a:t>Contract Validity</a:t>
          </a:r>
        </a:p>
      </dsp:txBody>
      <dsp:txXfrm>
        <a:off x="28779" y="29334"/>
        <a:ext cx="2628009" cy="531984"/>
      </dsp:txXfrm>
    </dsp:sp>
    <dsp:sp modelId="{1B4FD0F0-ABB9-4CF6-B8BE-5EE125369A94}">
      <dsp:nvSpPr>
        <dsp:cNvPr id="0" name=""/>
        <dsp:cNvSpPr/>
      </dsp:nvSpPr>
      <dsp:spPr>
        <a:xfrm rot="5400000">
          <a:off x="4748493" y="-1445973"/>
          <a:ext cx="638582" cy="4769679"/>
        </a:xfrm>
        <a:prstGeom prst="round2SameRect">
          <a:avLst/>
        </a:prstGeom>
        <a:solidFill>
          <a:srgbClr val="18837E">
            <a:alpha val="90000"/>
          </a:srgbClr>
        </a:solidFill>
        <a:ln w="12700" cap="flat" cmpd="sng" algn="ctr">
          <a:solidFill>
            <a:srgbClr val="007BC0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/>
            <a:t>Angular 20,HTML,CSS,NodeJS,C#,AzureDevOps,Robot Framework , Python</a:t>
          </a:r>
        </a:p>
      </dsp:txBody>
      <dsp:txXfrm rot="-5400000">
        <a:off x="2682945" y="650748"/>
        <a:ext cx="4738506" cy="576236"/>
      </dsp:txXfrm>
    </dsp:sp>
    <dsp:sp modelId="{B3B33808-52F0-4D3D-9C7D-A29A12AC2AC3}">
      <dsp:nvSpPr>
        <dsp:cNvPr id="0" name=""/>
        <dsp:cNvSpPr/>
      </dsp:nvSpPr>
      <dsp:spPr>
        <a:xfrm>
          <a:off x="0" y="644095"/>
          <a:ext cx="2682944" cy="589542"/>
        </a:xfrm>
        <a:prstGeom prst="roundRect">
          <a:avLst/>
        </a:prstGeom>
        <a:solidFill>
          <a:srgbClr val="C00C79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>
              <a:solidFill>
                <a:prstClr val="white"/>
              </a:solidFill>
              <a:latin typeface="Bosch Office Sans"/>
              <a:ea typeface="+mn-ea"/>
              <a:cs typeface="+mn-cs"/>
            </a:rPr>
            <a:t>Tools &amp; Technology</a:t>
          </a:r>
        </a:p>
      </dsp:txBody>
      <dsp:txXfrm>
        <a:off x="28779" y="672874"/>
        <a:ext cx="2625386" cy="531984"/>
      </dsp:txXfrm>
    </dsp:sp>
    <dsp:sp modelId="{1B3A3D83-3E23-42CF-9BC0-90FBFE46009F}">
      <dsp:nvSpPr>
        <dsp:cNvPr id="0" name=""/>
        <dsp:cNvSpPr/>
      </dsp:nvSpPr>
      <dsp:spPr>
        <a:xfrm rot="5400000">
          <a:off x="4836921" y="-804765"/>
          <a:ext cx="471633" cy="4774342"/>
        </a:xfrm>
        <a:prstGeom prst="round2SameRect">
          <a:avLst/>
        </a:prstGeom>
        <a:solidFill>
          <a:srgbClr val="18837E">
            <a:alpha val="90000"/>
          </a:srgbClr>
        </a:solidFill>
        <a:ln w="12700" cap="flat" cmpd="sng" algn="ctr">
          <a:solidFill>
            <a:srgbClr val="007BC0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Bosch Office Sans"/>
              <a:ea typeface="+mn-ea"/>
              <a:cs typeface="+mn-cs"/>
            </a:rPr>
            <a:t>Agile-Scrum (3 weeks sprint)</a:t>
          </a:r>
        </a:p>
      </dsp:txBody>
      <dsp:txXfrm rot="-5400000">
        <a:off x="2685567" y="1369612"/>
        <a:ext cx="4751319" cy="425587"/>
      </dsp:txXfrm>
    </dsp:sp>
    <dsp:sp modelId="{1242BC0A-7FF6-430A-9072-81F7DB367624}">
      <dsp:nvSpPr>
        <dsp:cNvPr id="0" name=""/>
        <dsp:cNvSpPr/>
      </dsp:nvSpPr>
      <dsp:spPr>
        <a:xfrm>
          <a:off x="0" y="1268280"/>
          <a:ext cx="2685567" cy="589542"/>
        </a:xfrm>
        <a:prstGeom prst="roundRect">
          <a:avLst/>
        </a:prstGeom>
        <a:solidFill>
          <a:srgbClr val="C00C79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>
              <a:solidFill>
                <a:prstClr val="white"/>
              </a:solidFill>
              <a:latin typeface="Bosch Office Sans"/>
              <a:ea typeface="+mn-ea"/>
              <a:cs typeface="+mn-cs"/>
            </a:rPr>
            <a:t>Life-cycle</a:t>
          </a:r>
        </a:p>
      </dsp:txBody>
      <dsp:txXfrm>
        <a:off x="28779" y="1297059"/>
        <a:ext cx="2628009" cy="53198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81023C-3C8B-476B-B30E-F486D64B9EE4}">
      <dsp:nvSpPr>
        <dsp:cNvPr id="0" name=""/>
        <dsp:cNvSpPr/>
      </dsp:nvSpPr>
      <dsp:spPr>
        <a:xfrm rot="5400000">
          <a:off x="4768856" y="-2006167"/>
          <a:ext cx="607765" cy="4774343"/>
        </a:xfrm>
        <a:prstGeom prst="round2SameRect">
          <a:avLst/>
        </a:prstGeom>
        <a:solidFill>
          <a:srgbClr val="18837E">
            <a:alpha val="90000"/>
          </a:srgb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b="1" i="0" kern="1200"/>
            <a:t>MS-107317_</a:t>
          </a:r>
          <a:r>
            <a:rPr lang="en-US" sz="1700" b="1" i="0" kern="1200">
              <a:latin typeface="Bosch Office Sans"/>
            </a:rPr>
            <a:t>LuxaOSLuxaMatrix</a:t>
          </a:r>
          <a:endParaRPr lang="en-US" sz="1700" kern="1200"/>
        </a:p>
      </dsp:txBody>
      <dsp:txXfrm rot="-5400000">
        <a:off x="2685568" y="106790"/>
        <a:ext cx="4744674" cy="548427"/>
      </dsp:txXfrm>
    </dsp:sp>
    <dsp:sp modelId="{00B1E6BE-5DA7-4C4E-8E10-FE50F9ED1B59}">
      <dsp:nvSpPr>
        <dsp:cNvPr id="0" name=""/>
        <dsp:cNvSpPr/>
      </dsp:nvSpPr>
      <dsp:spPr>
        <a:xfrm>
          <a:off x="0" y="1151"/>
          <a:ext cx="2685567" cy="759706"/>
        </a:xfrm>
        <a:prstGeom prst="roundRect">
          <a:avLst/>
        </a:prstGeom>
        <a:solidFill>
          <a:srgbClr val="C00C79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57150" rIns="114300" bIns="5715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/>
            <a:t>Project Name</a:t>
          </a:r>
        </a:p>
      </dsp:txBody>
      <dsp:txXfrm>
        <a:off x="37086" y="38237"/>
        <a:ext cx="2611395" cy="685534"/>
      </dsp:txXfrm>
    </dsp:sp>
    <dsp:sp modelId="{1B4FD0F0-ABB9-4CF6-B8BE-5EE125369A94}">
      <dsp:nvSpPr>
        <dsp:cNvPr id="0" name=""/>
        <dsp:cNvSpPr/>
      </dsp:nvSpPr>
      <dsp:spPr>
        <a:xfrm rot="5400000">
          <a:off x="4768856" y="-1208475"/>
          <a:ext cx="607765" cy="4774343"/>
        </a:xfrm>
        <a:prstGeom prst="round2SameRect">
          <a:avLst/>
        </a:prstGeom>
        <a:solidFill>
          <a:srgbClr val="18837E">
            <a:alpha val="90000"/>
          </a:srgbClr>
        </a:solidFill>
        <a:ln w="12700" cap="flat" cmpd="sng" algn="ctr">
          <a:solidFill>
            <a:srgbClr val="007BC0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Team Size – 8</a:t>
          </a:r>
          <a:endParaRPr lang="en-US" sz="1700" kern="1200">
            <a:highlight>
              <a:srgbClr val="FFFF00"/>
            </a:highlight>
          </a:endParaRP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Category – D</a:t>
          </a:r>
          <a:endParaRPr lang="en-US" sz="1700" kern="1200">
            <a:highlight>
              <a:srgbClr val="FFFF00"/>
            </a:highlight>
          </a:endParaRPr>
        </a:p>
      </dsp:txBody>
      <dsp:txXfrm rot="-5400000">
        <a:off x="2685568" y="904482"/>
        <a:ext cx="4744674" cy="548427"/>
      </dsp:txXfrm>
    </dsp:sp>
    <dsp:sp modelId="{B3B33808-52F0-4D3D-9C7D-A29A12AC2AC3}">
      <dsp:nvSpPr>
        <dsp:cNvPr id="0" name=""/>
        <dsp:cNvSpPr/>
      </dsp:nvSpPr>
      <dsp:spPr>
        <a:xfrm>
          <a:off x="0" y="798843"/>
          <a:ext cx="2685567" cy="759706"/>
        </a:xfrm>
        <a:prstGeom prst="roundRect">
          <a:avLst/>
        </a:prstGeom>
        <a:solidFill>
          <a:srgbClr val="C00C79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>
              <a:latin typeface="Bosch Office Sans"/>
              <a:ea typeface="+mn-ea"/>
              <a:cs typeface="+mn-cs"/>
            </a:rPr>
            <a:t>Team Size &amp; Project Category</a:t>
          </a:r>
        </a:p>
      </dsp:txBody>
      <dsp:txXfrm>
        <a:off x="37086" y="835929"/>
        <a:ext cx="2611395" cy="685534"/>
      </dsp:txXfrm>
    </dsp:sp>
    <dsp:sp modelId="{1B3A3D83-3E23-42CF-9BC0-90FBFE46009F}">
      <dsp:nvSpPr>
        <dsp:cNvPr id="0" name=""/>
        <dsp:cNvSpPr/>
      </dsp:nvSpPr>
      <dsp:spPr>
        <a:xfrm rot="5400000">
          <a:off x="4768856" y="-410782"/>
          <a:ext cx="607765" cy="4774343"/>
        </a:xfrm>
        <a:prstGeom prst="round2SameRect">
          <a:avLst/>
        </a:prstGeom>
        <a:solidFill>
          <a:srgbClr val="18837E">
            <a:alpha val="90000"/>
          </a:srgbClr>
        </a:solidFill>
        <a:ln w="12700" cap="flat" cmpd="sng" algn="ctr">
          <a:solidFill>
            <a:srgbClr val="007BC0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>
              <a:latin typeface="Bosch Office Sans"/>
              <a:ea typeface="+mn-ea"/>
              <a:cs typeface="+mn-cs"/>
            </a:rPr>
            <a:t>(DC-JS/ETI2)</a:t>
          </a:r>
        </a:p>
      </dsp:txBody>
      <dsp:txXfrm rot="-5400000">
        <a:off x="2685568" y="1702175"/>
        <a:ext cx="4744674" cy="548427"/>
      </dsp:txXfrm>
    </dsp:sp>
    <dsp:sp modelId="{1242BC0A-7FF6-430A-9072-81F7DB367624}">
      <dsp:nvSpPr>
        <dsp:cNvPr id="0" name=""/>
        <dsp:cNvSpPr/>
      </dsp:nvSpPr>
      <dsp:spPr>
        <a:xfrm>
          <a:off x="0" y="1583817"/>
          <a:ext cx="2685567" cy="759706"/>
        </a:xfrm>
        <a:prstGeom prst="roundRect">
          <a:avLst/>
        </a:prstGeom>
        <a:solidFill>
          <a:srgbClr val="C00C79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>
              <a:latin typeface="Bosch Office Sans"/>
              <a:ea typeface="+mn-ea"/>
              <a:cs typeface="+mn-cs"/>
            </a:rPr>
            <a:t>Customer</a:t>
          </a:r>
        </a:p>
      </dsp:txBody>
      <dsp:txXfrm>
        <a:off x="37086" y="1620903"/>
        <a:ext cx="2611395" cy="68553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07911F-CEAF-4F0B-98BD-EFB38C6572AA}" type="datetimeFigureOut">
              <a:rPr lang="de-DE" smtClean="0"/>
              <a:t>19.01.202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2D48B2-9EB0-4B37-9B35-FC11E2EA535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31539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2D48B2-9EB0-4B37-9B35-FC11E2EA535A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79329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2D48B2-9EB0-4B37-9B35-FC11E2EA535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Office Sans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24926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2D48B2-9EB0-4B37-9B35-FC11E2EA535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Office Sans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9444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2D48B2-9EB0-4B37-9B35-FC11E2EA535A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61278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5.xml"/><Relationship Id="rId7" Type="http://schemas.openxmlformats.org/officeDocument/2006/relationships/image" Target="../media/image10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0.xml"/><Relationship Id="rId7" Type="http://schemas.openxmlformats.org/officeDocument/2006/relationships/image" Target="../media/image10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5.xml"/><Relationship Id="rId7" Type="http://schemas.openxmlformats.org/officeDocument/2006/relationships/image" Target="../media/image10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2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6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0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7.png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0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7.png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0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7.png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30.xml"/><Relationship Id="rId7" Type="http://schemas.openxmlformats.org/officeDocument/2006/relationships/image" Target="../media/image10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7.png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33.xml"/><Relationship Id="rId7" Type="http://schemas.openxmlformats.org/officeDocument/2006/relationships/image" Target="../media/image10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7.png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36.xml"/><Relationship Id="rId7" Type="http://schemas.openxmlformats.org/officeDocument/2006/relationships/image" Target="../media/image10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7.png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39.xml"/><Relationship Id="rId7" Type="http://schemas.openxmlformats.org/officeDocument/2006/relationships/image" Target="../media/image10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7.png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42.xml"/><Relationship Id="rId7" Type="http://schemas.openxmlformats.org/officeDocument/2006/relationships/image" Target="../media/image10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7.png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45.xml"/><Relationship Id="rId7" Type="http://schemas.openxmlformats.org/officeDocument/2006/relationships/image" Target="../media/image10.pn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7.png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48.xml"/><Relationship Id="rId7" Type="http://schemas.openxmlformats.org/officeDocument/2006/relationships/image" Target="../media/image10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7.png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51.xml"/><Relationship Id="rId7" Type="http://schemas.openxmlformats.org/officeDocument/2006/relationships/image" Target="../media/image10.pn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7.png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54.xml"/><Relationship Id="rId7" Type="http://schemas.openxmlformats.org/officeDocument/2006/relationships/image" Target="../media/image10.pn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7.png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10.png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7.png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 1" descr="bg1_d2_169.png">
            <a:extLst>
              <a:ext uri="{FF2B5EF4-FFF2-40B4-BE49-F238E27FC236}">
                <a16:creationId xmlns:a16="http://schemas.microsoft.com/office/drawing/2014/main" id="{896CC0FD-4256-4167-AE25-A738EE088951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" y="2"/>
            <a:ext cx="10969509" cy="617092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6" name="Grafik 4" descr="logo1_d2.png">
            <a:extLst>
              <a:ext uri="{FF2B5EF4-FFF2-40B4-BE49-F238E27FC236}">
                <a16:creationId xmlns:a16="http://schemas.microsoft.com/office/drawing/2014/main" id="{173BBCFB-9404-4FBA-9EEC-E8008B6044A2}"/>
              </a:ext>
            </a:extLst>
          </p:cNvPr>
          <p:cNvPicPr>
            <a:picLocks noSel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FD8C3B7-D4C2-49FB-A234-B9EF65EF0E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4800" cy="5205600"/>
          </a:xfrm>
          <a:ln w="0">
            <a:noFill/>
          </a:ln>
          <a:effectLst/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7999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1"/>
              <a:t>Add Pres. Title</a:t>
            </a:r>
          </a:p>
        </p:txBody>
      </p:sp>
      <p:pic>
        <p:nvPicPr>
          <p:cNvPr id="10" name="Grafik 3" descr="right_d2.png">
            <a:extLst>
              <a:ext uri="{FF2B5EF4-FFF2-40B4-BE49-F238E27FC236}">
                <a16:creationId xmlns:a16="http://schemas.microsoft.com/office/drawing/2014/main" id="{649683E7-5D3C-46E0-92A4-661F3C29C858}"/>
              </a:ext>
            </a:extLst>
          </p:cNvPr>
          <p:cNvPicPr>
            <a:picLocks noSel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62193031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vertical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pter_titleonly">
            <a:extLst>
              <a:ext uri="{FF2B5EF4-FFF2-40B4-BE49-F238E27FC236}">
                <a16:creationId xmlns:a16="http://schemas.microsoft.com/office/drawing/2014/main" id="{E29BFEC5-7639-4AE9-A818-5EB7EC3C9C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E99B80D-00FD-40C8-B929-FA71A2E035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48600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853600" y="1295999"/>
            <a:ext cx="48600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29" name="Grafik 3" descr="bottom_d2_169.png">
            <a:extLst>
              <a:ext uri="{FF2B5EF4-FFF2-40B4-BE49-F238E27FC236}">
                <a16:creationId xmlns:a16="http://schemas.microsoft.com/office/drawing/2014/main" id="{2646ABA5-1E42-496E-B88F-BEBEC4B2C7B6}"/>
              </a:ext>
            </a:extLst>
          </p:cNvPr>
          <p:cNvPicPr>
            <a:picLocks noSel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0" name="Grafik 29" descr="logo2_d2.png">
            <a:extLst>
              <a:ext uri="{FF2B5EF4-FFF2-40B4-BE49-F238E27FC236}">
                <a16:creationId xmlns:a16="http://schemas.microsoft.com/office/drawing/2014/main" id="{BA9AAC15-C2E5-4D68-B499-7D3FC8760D94}"/>
              </a:ext>
            </a:extLst>
          </p:cNvPr>
          <p:cNvPicPr>
            <a:picLocks noSel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2" name="Rectangle7">
            <a:extLst>
              <a:ext uri="{FF2B5EF4-FFF2-40B4-BE49-F238E27FC236}">
                <a16:creationId xmlns:a16="http://schemas.microsoft.com/office/drawing/2014/main" id="{0193DB20-8E77-4A05-AA77-554F32E8990F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4" name="Grafik 4" descr="logo1_d2.png">
            <a:extLst>
              <a:ext uri="{FF2B5EF4-FFF2-40B4-BE49-F238E27FC236}">
                <a16:creationId xmlns:a16="http://schemas.microsoft.com/office/drawing/2014/main" id="{AD1AA2B6-6C2F-4A14-9E4C-FB86A10EF6B2}"/>
              </a:ext>
            </a:extLst>
          </p:cNvPr>
          <p:cNvPicPr>
            <a:picLocks noSel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787601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pos="3225" userDrawn="1">
          <p15:clr>
            <a:srgbClr val="FBAE40"/>
          </p15:clr>
        </p15:guide>
        <p15:guide id="9" pos="368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pter_titleonly">
            <a:extLst>
              <a:ext uri="{FF2B5EF4-FFF2-40B4-BE49-F238E27FC236}">
                <a16:creationId xmlns:a16="http://schemas.microsoft.com/office/drawing/2014/main" id="{7CCAFAD8-87FF-4E8A-B13E-2709A28399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213B860-B040-4AA5-BCCF-91A137076F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31284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7560000" y="1295999"/>
            <a:ext cx="31284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29" name="Grafik 3" descr="bottom_d2_169.png">
            <a:extLst>
              <a:ext uri="{FF2B5EF4-FFF2-40B4-BE49-F238E27FC236}">
                <a16:creationId xmlns:a16="http://schemas.microsoft.com/office/drawing/2014/main" id="{2646ABA5-1E42-496E-B88F-BEBEC4B2C7B6}"/>
              </a:ext>
            </a:extLst>
          </p:cNvPr>
          <p:cNvPicPr>
            <a:picLocks noSel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0" name="Grafik 29" descr="logo2_d2.png">
            <a:extLst>
              <a:ext uri="{FF2B5EF4-FFF2-40B4-BE49-F238E27FC236}">
                <a16:creationId xmlns:a16="http://schemas.microsoft.com/office/drawing/2014/main" id="{BA9AAC15-C2E5-4D68-B499-7D3FC8760D94}"/>
              </a:ext>
            </a:extLst>
          </p:cNvPr>
          <p:cNvPicPr>
            <a:picLocks noSel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3F3E027D-9EE5-4C12-9974-36EA025C350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909600" y="1296000"/>
            <a:ext cx="31284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3" name="Rectangle7">
            <a:extLst>
              <a:ext uri="{FF2B5EF4-FFF2-40B4-BE49-F238E27FC236}">
                <a16:creationId xmlns:a16="http://schemas.microsoft.com/office/drawing/2014/main" id="{79759149-285E-4F0E-938E-7199B34084BE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6" name="Grafik 4" descr="logo1_d2.png">
            <a:extLst>
              <a:ext uri="{FF2B5EF4-FFF2-40B4-BE49-F238E27FC236}">
                <a16:creationId xmlns:a16="http://schemas.microsoft.com/office/drawing/2014/main" id="{853C9362-E049-4C5A-93EB-CA7DB346BCAC}"/>
              </a:ext>
            </a:extLst>
          </p:cNvPr>
          <p:cNvPicPr>
            <a:picLocks noSel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005200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pos="2135" userDrawn="1">
          <p15:clr>
            <a:srgbClr val="FBAE40"/>
          </p15:clr>
        </p15:guide>
        <p15:guide id="9" pos="2462" userDrawn="1">
          <p15:clr>
            <a:srgbClr val="FBAE40"/>
          </p15:clr>
        </p15:guide>
        <p15:guide id="10" pos="4434" userDrawn="1">
          <p15:clr>
            <a:srgbClr val="FBAE40"/>
          </p15:clr>
        </p15:guide>
        <p15:guide id="11" pos="4761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pter_titleonly">
            <a:extLst>
              <a:ext uri="{FF2B5EF4-FFF2-40B4-BE49-F238E27FC236}">
                <a16:creationId xmlns:a16="http://schemas.microsoft.com/office/drawing/2014/main" id="{85E4898A-B45B-416F-8A7F-E57751056E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A33F6F31-B924-4EAD-BDA8-332AAD2C4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080" y="1295399"/>
            <a:ext cx="251587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5549900" y="1295399"/>
            <a:ext cx="251587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904490" y="1295400"/>
            <a:ext cx="251587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4" hasCustomPrompt="1"/>
          </p:nvPr>
        </p:nvSpPr>
        <p:spPr>
          <a:xfrm>
            <a:off x="8195310" y="1295400"/>
            <a:ext cx="251587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31" name="Grafik 3" descr="bottom_d2_169.png">
            <a:extLst>
              <a:ext uri="{FF2B5EF4-FFF2-40B4-BE49-F238E27FC236}">
                <a16:creationId xmlns:a16="http://schemas.microsoft.com/office/drawing/2014/main" id="{A3C6D0D9-04AD-43FA-8B6F-53255648BE83}"/>
              </a:ext>
            </a:extLst>
          </p:cNvPr>
          <p:cNvPicPr>
            <a:picLocks noSel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2" name="Grafik 31" descr="logo2_d2.png">
            <a:extLst>
              <a:ext uri="{FF2B5EF4-FFF2-40B4-BE49-F238E27FC236}">
                <a16:creationId xmlns:a16="http://schemas.microsoft.com/office/drawing/2014/main" id="{A5FC486E-34C4-4DFC-9640-0742E0B83B94}"/>
              </a:ext>
            </a:extLst>
          </p:cNvPr>
          <p:cNvPicPr>
            <a:picLocks noSel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4" name="Rectangle7">
            <a:extLst>
              <a:ext uri="{FF2B5EF4-FFF2-40B4-BE49-F238E27FC236}">
                <a16:creationId xmlns:a16="http://schemas.microsoft.com/office/drawing/2014/main" id="{3A9A741C-7644-4810-ABAF-465822FC0D76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7" name="Grafik 4" descr="logo1_d2.png">
            <a:extLst>
              <a:ext uri="{FF2B5EF4-FFF2-40B4-BE49-F238E27FC236}">
                <a16:creationId xmlns:a16="http://schemas.microsoft.com/office/drawing/2014/main" id="{2F5D5F7F-9AC3-4C8C-9378-5DCB41FEB94B}"/>
              </a:ext>
            </a:extLst>
          </p:cNvPr>
          <p:cNvPicPr>
            <a:picLocks noSel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763114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pos="1749" userDrawn="1">
          <p15:clr>
            <a:srgbClr val="FBAE40"/>
          </p15:clr>
        </p15:guide>
        <p15:guide id="9" pos="1829" userDrawn="1">
          <p15:clr>
            <a:srgbClr val="FBAE40"/>
          </p15:clr>
        </p15:guide>
        <p15:guide id="10" pos="3416" userDrawn="1">
          <p15:clr>
            <a:srgbClr val="FBAE40"/>
          </p15:clr>
        </p15:guide>
        <p15:guide id="11" pos="3495" userDrawn="1">
          <p15:clr>
            <a:srgbClr val="FBAE40"/>
          </p15:clr>
        </p15:guide>
        <p15:guide id="12" pos="5082" userDrawn="1">
          <p15:clr>
            <a:srgbClr val="FBAE40"/>
          </p15:clr>
        </p15:guide>
        <p15:guide id="13" pos="51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 horizontal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pter_titleonly">
            <a:extLst>
              <a:ext uri="{FF2B5EF4-FFF2-40B4-BE49-F238E27FC236}">
                <a16:creationId xmlns:a16="http://schemas.microsoft.com/office/drawing/2014/main" id="{9398DDFA-1939-498B-8921-7DDB40481F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B79D08E-37B8-49BA-9E18-ED577CD999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104508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59200" y="3445201"/>
            <a:ext cx="104508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29" name="Grafik 3" descr="bottom_d2_169.png">
            <a:extLst>
              <a:ext uri="{FF2B5EF4-FFF2-40B4-BE49-F238E27FC236}">
                <a16:creationId xmlns:a16="http://schemas.microsoft.com/office/drawing/2014/main" id="{E1C644A7-78AF-407E-A25C-6F76F012AC1D}"/>
              </a:ext>
            </a:extLst>
          </p:cNvPr>
          <p:cNvPicPr>
            <a:picLocks noSel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0" name="Grafik 29" descr="logo2_d2.png">
            <a:extLst>
              <a:ext uri="{FF2B5EF4-FFF2-40B4-BE49-F238E27FC236}">
                <a16:creationId xmlns:a16="http://schemas.microsoft.com/office/drawing/2014/main" id="{BF432EB7-B56F-491D-9D42-9FA89D925A5A}"/>
              </a:ext>
            </a:extLst>
          </p:cNvPr>
          <p:cNvPicPr>
            <a:picLocks noSel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2" name="Rectangle7">
            <a:extLst>
              <a:ext uri="{FF2B5EF4-FFF2-40B4-BE49-F238E27FC236}">
                <a16:creationId xmlns:a16="http://schemas.microsoft.com/office/drawing/2014/main" id="{2E7C0809-54C2-4B00-97B9-AEB55C54DF36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4" name="Grafik 4" descr="logo1_d2.png">
            <a:extLst>
              <a:ext uri="{FF2B5EF4-FFF2-40B4-BE49-F238E27FC236}">
                <a16:creationId xmlns:a16="http://schemas.microsoft.com/office/drawing/2014/main" id="{F944409F-1D53-436E-A382-254727DA7F5F}"/>
              </a:ext>
            </a:extLst>
          </p:cNvPr>
          <p:cNvPicPr>
            <a:picLocks noSel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956372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orient="horz" pos="2090" userDrawn="1">
          <p15:clr>
            <a:srgbClr val="FBAE40"/>
          </p15:clr>
        </p15:guide>
        <p15:guide id="9" orient="horz" pos="216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 x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pter_titleonly">
            <a:extLst>
              <a:ext uri="{FF2B5EF4-FFF2-40B4-BE49-F238E27FC236}">
                <a16:creationId xmlns:a16="http://schemas.microsoft.com/office/drawing/2014/main" id="{90C8652B-1F43-4467-AC53-668A8D3D47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FDBB36D-E1FF-4336-B805-B8B7F4B25A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48600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5853600" y="1295999"/>
            <a:ext cx="48600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59200" y="3445201"/>
            <a:ext cx="48600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4" hasCustomPrompt="1"/>
          </p:nvPr>
        </p:nvSpPr>
        <p:spPr>
          <a:xfrm>
            <a:off x="5853600" y="3445201"/>
            <a:ext cx="48600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31" name="Grafik 3" descr="bottom_d2_169.png">
            <a:extLst>
              <a:ext uri="{FF2B5EF4-FFF2-40B4-BE49-F238E27FC236}">
                <a16:creationId xmlns:a16="http://schemas.microsoft.com/office/drawing/2014/main" id="{14946AFE-2563-4C40-963E-DFE36F6D3171}"/>
              </a:ext>
            </a:extLst>
          </p:cNvPr>
          <p:cNvPicPr>
            <a:picLocks noSel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2" name="Grafik 31" descr="logo2_d2.png">
            <a:extLst>
              <a:ext uri="{FF2B5EF4-FFF2-40B4-BE49-F238E27FC236}">
                <a16:creationId xmlns:a16="http://schemas.microsoft.com/office/drawing/2014/main" id="{8A247A46-B0BA-49FE-BDE2-4F90A7348546}"/>
              </a:ext>
            </a:extLst>
          </p:cNvPr>
          <p:cNvPicPr>
            <a:picLocks noSel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4" name="Rectangle7">
            <a:extLst>
              <a:ext uri="{FF2B5EF4-FFF2-40B4-BE49-F238E27FC236}">
                <a16:creationId xmlns:a16="http://schemas.microsoft.com/office/drawing/2014/main" id="{43F0E5D0-784C-433E-AAB0-40D43C1BCBAB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6" name="Grafik 4" descr="logo1_d2.png">
            <a:extLst>
              <a:ext uri="{FF2B5EF4-FFF2-40B4-BE49-F238E27FC236}">
                <a16:creationId xmlns:a16="http://schemas.microsoft.com/office/drawing/2014/main" id="{17992435-2281-4D69-8E9C-A9BD8CD4504F}"/>
              </a:ext>
            </a:extLst>
          </p:cNvPr>
          <p:cNvPicPr>
            <a:picLocks noSel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51935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orient="horz" pos="2090" userDrawn="1">
          <p15:clr>
            <a:srgbClr val="FBAE40"/>
          </p15:clr>
        </p15:guide>
        <p15:guide id="9" orient="horz" pos="2169" userDrawn="1">
          <p15:clr>
            <a:srgbClr val="FBAE40"/>
          </p15:clr>
        </p15:guide>
        <p15:guide id="10" pos="3225" userDrawn="1">
          <p15:clr>
            <a:srgbClr val="FBAE40"/>
          </p15:clr>
        </p15:guide>
        <p15:guide id="11" pos="368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3 x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hapter_titleonly">
            <a:extLst>
              <a:ext uri="{FF2B5EF4-FFF2-40B4-BE49-F238E27FC236}">
                <a16:creationId xmlns:a16="http://schemas.microsoft.com/office/drawing/2014/main" id="{FEDBFC76-9F59-4A18-8E8B-EDDF9CC208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226D581-60F4-440B-A410-F6582BC0D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3909600" y="1295999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5" hasCustomPrompt="1"/>
          </p:nvPr>
        </p:nvSpPr>
        <p:spPr>
          <a:xfrm>
            <a:off x="7560000" y="1295999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59200" y="3445201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4" hasCustomPrompt="1"/>
          </p:nvPr>
        </p:nvSpPr>
        <p:spPr>
          <a:xfrm>
            <a:off x="3909600" y="3445201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6" hasCustomPrompt="1"/>
          </p:nvPr>
        </p:nvSpPr>
        <p:spPr>
          <a:xfrm>
            <a:off x="7560000" y="3445201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33" name="Grafik 3" descr="bottom_d2_169.png">
            <a:extLst>
              <a:ext uri="{FF2B5EF4-FFF2-40B4-BE49-F238E27FC236}">
                <a16:creationId xmlns:a16="http://schemas.microsoft.com/office/drawing/2014/main" id="{D68326DC-5F3B-4205-8352-8D213F6B12F1}"/>
              </a:ext>
            </a:extLst>
          </p:cNvPr>
          <p:cNvPicPr>
            <a:picLocks noSel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4" name="Grafik 33" descr="logo2_d2.png">
            <a:extLst>
              <a:ext uri="{FF2B5EF4-FFF2-40B4-BE49-F238E27FC236}">
                <a16:creationId xmlns:a16="http://schemas.microsoft.com/office/drawing/2014/main" id="{6306B871-7048-4385-84D6-368540647FAF}"/>
              </a:ext>
            </a:extLst>
          </p:cNvPr>
          <p:cNvPicPr>
            <a:picLocks noSel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6" name="Rectangle7">
            <a:extLst>
              <a:ext uri="{FF2B5EF4-FFF2-40B4-BE49-F238E27FC236}">
                <a16:creationId xmlns:a16="http://schemas.microsoft.com/office/drawing/2014/main" id="{C680F8C7-4715-4E6C-829A-E87F16C03BB3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8" name="Grafik 4" descr="logo1_d2.png">
            <a:extLst>
              <a:ext uri="{FF2B5EF4-FFF2-40B4-BE49-F238E27FC236}">
                <a16:creationId xmlns:a16="http://schemas.microsoft.com/office/drawing/2014/main" id="{058025F0-4E5A-4419-90FC-FD31DB24C306}"/>
              </a:ext>
            </a:extLst>
          </p:cNvPr>
          <p:cNvPicPr>
            <a:picLocks noSel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482577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pos="2140" userDrawn="1">
          <p15:clr>
            <a:srgbClr val="FBAE40"/>
          </p15:clr>
        </p15:guide>
        <p15:guide id="9" pos="2457" userDrawn="1">
          <p15:clr>
            <a:srgbClr val="FBAE40"/>
          </p15:clr>
        </p15:guide>
        <p15:guide id="10" pos="4434" userDrawn="1">
          <p15:clr>
            <a:srgbClr val="FBAE40"/>
          </p15:clr>
        </p15:guide>
        <p15:guide id="11" pos="4761" userDrawn="1">
          <p15:clr>
            <a:srgbClr val="FBAE40"/>
          </p15:clr>
        </p15:guide>
        <p15:guide id="12" orient="horz" pos="2090" userDrawn="1">
          <p15:clr>
            <a:srgbClr val="FBAE40"/>
          </p15:clr>
        </p15:guide>
        <p15:guide id="13" orient="horz" pos="2169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4 x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hapter_titleonly">
            <a:extLst>
              <a:ext uri="{FF2B5EF4-FFF2-40B4-BE49-F238E27FC236}">
                <a16:creationId xmlns:a16="http://schemas.microsoft.com/office/drawing/2014/main" id="{20D581F7-7281-48B4-B67B-7228F84F39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C7544615-D17B-4350-B517-7E469AC91A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2905200" y="1295999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7" hasCustomPrompt="1"/>
          </p:nvPr>
        </p:nvSpPr>
        <p:spPr>
          <a:xfrm>
            <a:off x="8197200" y="1295999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59200" y="3445201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4" hasCustomPrompt="1"/>
          </p:nvPr>
        </p:nvSpPr>
        <p:spPr>
          <a:xfrm>
            <a:off x="2905200" y="3445201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8" hasCustomPrompt="1"/>
          </p:nvPr>
        </p:nvSpPr>
        <p:spPr>
          <a:xfrm>
            <a:off x="8197200" y="3445201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33" name="Grafik 3" descr="bottom_d2_169.png">
            <a:extLst>
              <a:ext uri="{FF2B5EF4-FFF2-40B4-BE49-F238E27FC236}">
                <a16:creationId xmlns:a16="http://schemas.microsoft.com/office/drawing/2014/main" id="{D68326DC-5F3B-4205-8352-8D213F6B12F1}"/>
              </a:ext>
            </a:extLst>
          </p:cNvPr>
          <p:cNvPicPr>
            <a:picLocks noSel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4" name="Grafik 33" descr="logo2_d2.png">
            <a:extLst>
              <a:ext uri="{FF2B5EF4-FFF2-40B4-BE49-F238E27FC236}">
                <a16:creationId xmlns:a16="http://schemas.microsoft.com/office/drawing/2014/main" id="{6306B871-7048-4385-84D6-368540647FAF}"/>
              </a:ext>
            </a:extLst>
          </p:cNvPr>
          <p:cNvPicPr>
            <a:picLocks noSel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468F8D-277D-4F1A-84A1-62122010643F}"/>
              </a:ext>
            </a:extLst>
          </p:cNvPr>
          <p:cNvSpPr>
            <a:spLocks noGrp="1"/>
          </p:cNvSpPr>
          <p:nvPr>
            <p:ph sz="half" idx="5" hasCustomPrompt="1"/>
          </p:nvPr>
        </p:nvSpPr>
        <p:spPr>
          <a:xfrm>
            <a:off x="5551200" y="1296000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B143799E-2832-49D7-9953-45BACACA7549}"/>
              </a:ext>
            </a:extLst>
          </p:cNvPr>
          <p:cNvSpPr>
            <a:spLocks noGrp="1"/>
          </p:cNvSpPr>
          <p:nvPr>
            <p:ph sz="half" idx="6" hasCustomPrompt="1"/>
          </p:nvPr>
        </p:nvSpPr>
        <p:spPr>
          <a:xfrm>
            <a:off x="5551200" y="3445200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21" name="Rectangle7">
            <a:extLst>
              <a:ext uri="{FF2B5EF4-FFF2-40B4-BE49-F238E27FC236}">
                <a16:creationId xmlns:a16="http://schemas.microsoft.com/office/drawing/2014/main" id="{60F530EA-2EFB-4DC6-BA26-465D18FD265B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22" name="Grafik 4" descr="logo1_d2.png">
            <a:extLst>
              <a:ext uri="{FF2B5EF4-FFF2-40B4-BE49-F238E27FC236}">
                <a16:creationId xmlns:a16="http://schemas.microsoft.com/office/drawing/2014/main" id="{F7F706B3-07D4-410C-B7A6-C9E5735A9928}"/>
              </a:ext>
            </a:extLst>
          </p:cNvPr>
          <p:cNvPicPr>
            <a:picLocks noSel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371421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orient="horz" pos="2090" userDrawn="1">
          <p15:clr>
            <a:srgbClr val="FBAE40"/>
          </p15:clr>
        </p15:guide>
        <p15:guide id="9" orient="horz" pos="2169" userDrawn="1">
          <p15:clr>
            <a:srgbClr val="FBAE40"/>
          </p15:clr>
        </p15:guide>
        <p15:guide id="10" pos="1749" userDrawn="1">
          <p15:clr>
            <a:srgbClr val="FBAE40"/>
          </p15:clr>
        </p15:guide>
        <p15:guide id="11" pos="1830" userDrawn="1">
          <p15:clr>
            <a:srgbClr val="FBAE40"/>
          </p15:clr>
        </p15:guide>
        <p15:guide id="12" pos="3416" userDrawn="1">
          <p15:clr>
            <a:srgbClr val="FBAE40"/>
          </p15:clr>
        </p15:guide>
        <p15:guide id="13" pos="3497" userDrawn="1">
          <p15:clr>
            <a:srgbClr val="FBAE40"/>
          </p15:clr>
        </p15:guide>
        <p15:guide id="14" pos="5082" userDrawn="1">
          <p15:clr>
            <a:srgbClr val="FBAE40"/>
          </p15:clr>
        </p15:guide>
        <p15:guide id="15" pos="516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9" name="Grafik 3" descr="bottom_d2_169.png">
            <a:extLst>
              <a:ext uri="{FF2B5EF4-FFF2-40B4-BE49-F238E27FC236}">
                <a16:creationId xmlns:a16="http://schemas.microsoft.com/office/drawing/2014/main" id="{EF316F00-ABDB-4F1C-8223-8689636D6D52}"/>
              </a:ext>
            </a:extLst>
          </p:cNvPr>
          <p:cNvPicPr>
            <a:picLocks noSel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10" name="Grafik 9" descr="logo2_d2.png">
            <a:extLst>
              <a:ext uri="{FF2B5EF4-FFF2-40B4-BE49-F238E27FC236}">
                <a16:creationId xmlns:a16="http://schemas.microsoft.com/office/drawing/2014/main" id="{30CBBFCD-8992-45AF-92BD-7EBF3A86E1C1}"/>
              </a:ext>
            </a:extLst>
          </p:cNvPr>
          <p:cNvPicPr>
            <a:picLocks noSel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8" name="Rectangle7">
            <a:extLst>
              <a:ext uri="{FF2B5EF4-FFF2-40B4-BE49-F238E27FC236}">
                <a16:creationId xmlns:a16="http://schemas.microsoft.com/office/drawing/2014/main" id="{C868D9BE-A299-4D0B-87AF-B491FAE5FD28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1" name="Grafik 4" descr="logo1_d2.png">
            <a:extLst>
              <a:ext uri="{FF2B5EF4-FFF2-40B4-BE49-F238E27FC236}">
                <a16:creationId xmlns:a16="http://schemas.microsoft.com/office/drawing/2014/main" id="{0B4DD8A5-C16C-443A-8C22-A52B612231A5}"/>
              </a:ext>
            </a:extLst>
          </p:cNvPr>
          <p:cNvPicPr>
            <a:picLocks noSel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074551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Full Page Graphic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logo1_d2.png">
            <a:extLst>
              <a:ext uri="{FF2B5EF4-FFF2-40B4-BE49-F238E27FC236}">
                <a16:creationId xmlns:a16="http://schemas.microsoft.com/office/drawing/2014/main" id="{F35DC742-BC8F-47B5-88E2-93616D59A618}"/>
              </a:ext>
            </a:extLst>
          </p:cNvPr>
          <p:cNvPicPr>
            <a:picLocks noSel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6" name="Grafik 3" descr="right_d2.png">
            <a:extLst>
              <a:ext uri="{FF2B5EF4-FFF2-40B4-BE49-F238E27FC236}">
                <a16:creationId xmlns:a16="http://schemas.microsoft.com/office/drawing/2014/main" id="{2E1D2BC1-44DB-403E-B4D8-3E1DC5D199E5}"/>
              </a:ext>
            </a:extLst>
          </p:cNvPr>
          <p:cNvPicPr>
            <a:picLocks noSel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273178664"/>
      </p:ext>
    </p:extLst>
  </p:cSld>
  <p:clrMapOvr>
    <a:masterClrMapping/>
  </p:clrMapOvr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5" descr="bg3_d2_169.png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" y="2"/>
            <a:ext cx="10969509" cy="617092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D60E046F-66D0-431E-9C49-8E6C18C3F3C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4800" cy="5205600"/>
          </a:xfrm>
          <a:ln w="0">
            <a:noFill/>
          </a:ln>
          <a:effectLst/>
        </p:spPr>
        <p:txBody>
          <a:bodyPr anchor="t" anchorCtr="0"/>
          <a:lstStyle>
            <a:lvl1pPr algn="l">
              <a:lnSpc>
                <a:spcPct val="90000"/>
              </a:lnSpc>
              <a:defRPr sz="8000" kern="1200" cap="all" baseline="0">
                <a:solidFill>
                  <a:schemeClr val="tx1"/>
                </a:solidFill>
              </a:defRPr>
            </a:lvl1pPr>
          </a:lstStyle>
          <a:p>
            <a:r>
              <a:rPr lang="en-US" noProof="1"/>
              <a:t>Add Closing Phrase</a:t>
            </a:r>
          </a:p>
        </p:txBody>
      </p:sp>
      <p:pic>
        <p:nvPicPr>
          <p:cNvPr id="6" name="Grafik 4" descr="logo1_d2.png">
            <a:extLst>
              <a:ext uri="{FF2B5EF4-FFF2-40B4-BE49-F238E27FC236}">
                <a16:creationId xmlns:a16="http://schemas.microsoft.com/office/drawing/2014/main" id="{AD329951-67FC-4FE1-85D1-D4AEA8479C0D}"/>
              </a:ext>
            </a:extLst>
          </p:cNvPr>
          <p:cNvPicPr>
            <a:picLocks noSel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9" name="Grafik 3" descr="right_d2.png">
            <a:extLst>
              <a:ext uri="{FF2B5EF4-FFF2-40B4-BE49-F238E27FC236}">
                <a16:creationId xmlns:a16="http://schemas.microsoft.com/office/drawing/2014/main" id="{7AD5F0A5-2B17-4D20-B0E6-B4F0FA977516}"/>
              </a:ext>
            </a:extLst>
          </p:cNvPr>
          <p:cNvPicPr>
            <a:picLocks noSel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7379696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ackground 2" descr="bg2_d2_169.png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" y="2"/>
            <a:ext cx="10969509" cy="617092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FD8C3B7-D4C2-49FB-A234-B9EF65EF0E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4800" cy="5205600"/>
          </a:xfrm>
          <a:ln w="0">
            <a:noFill/>
          </a:ln>
          <a:effectLst/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7999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1"/>
              <a:t>Add Pres. Title</a:t>
            </a:r>
          </a:p>
        </p:txBody>
      </p:sp>
      <p:pic>
        <p:nvPicPr>
          <p:cNvPr id="7" name="Grafik 4" descr="logo1_d2.png">
            <a:extLst>
              <a:ext uri="{FF2B5EF4-FFF2-40B4-BE49-F238E27FC236}">
                <a16:creationId xmlns:a16="http://schemas.microsoft.com/office/drawing/2014/main" id="{7868D6E5-0EC1-4883-8CF9-7E8712A5DE97}"/>
              </a:ext>
            </a:extLst>
          </p:cNvPr>
          <p:cNvPicPr>
            <a:picLocks noSel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9" name="Grafik 3" descr="right_d2.png">
            <a:extLst>
              <a:ext uri="{FF2B5EF4-FFF2-40B4-BE49-F238E27FC236}">
                <a16:creationId xmlns:a16="http://schemas.microsoft.com/office/drawing/2014/main" id="{24DBB17F-A4BD-455D-A654-0625D135562B}"/>
              </a:ext>
            </a:extLst>
          </p:cNvPr>
          <p:cNvPicPr>
            <a:picLocks noSel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81453195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09526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3C2413A8-B904-4103-BBD1-2227F6EB788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218440"/>
            <a:ext cx="10969625" cy="534924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none" lIns="0" tIns="0" rIns="0" bIns="0" rtlCol="0" anchor="t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normalizeH="0" baseline="0" noProof="1">
              <a:ln>
                <a:noFill/>
              </a:ln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5ECB4D5-AD76-4D7A-893F-2DD9811F27D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5180330"/>
            <a:ext cx="10969625" cy="388620"/>
          </a:xfrm>
          <a:prstGeom prst="rect">
            <a:avLst/>
          </a:prstGeom>
          <a:gradFill flip="none" rotWithShape="1">
            <a:gsLst>
              <a:gs pos="49900">
                <a:schemeClr val="bg1">
                  <a:alpha val="0"/>
                </a:schemeClr>
              </a:gs>
              <a:gs pos="50000">
                <a:srgbClr val="FFFFFF"/>
              </a:gs>
            </a:gsLst>
            <a:lin ang="5286000" scaled="0"/>
            <a:tileRect/>
          </a:gradFill>
          <a:ln w="9525" cap="flat" cmpd="sng" algn="ctr">
            <a:noFill/>
            <a:prstDash val="solid"/>
          </a:ln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wrap="none" lIns="0" tIns="0" rIns="0" bIns="0" rtlCol="0" anchor="t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normalizeH="0" baseline="0" noProof="1">
              <a:ln>
                <a:noFill/>
              </a:ln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C7FB63C-D6BA-4487-9AF5-DB6DF6755C8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218440"/>
            <a:ext cx="10969625" cy="388620"/>
          </a:xfrm>
          <a:prstGeom prst="rect">
            <a:avLst/>
          </a:prstGeom>
          <a:gradFill flip="none" rotWithShape="1">
            <a:gsLst>
              <a:gs pos="49900">
                <a:srgbClr val="FFFFFF"/>
              </a:gs>
              <a:gs pos="50000">
                <a:srgbClr val="FFFFFF">
                  <a:alpha val="0"/>
                </a:srgbClr>
              </a:gs>
            </a:gsLst>
            <a:lin ang="5286000" scaled="0"/>
            <a:tileRect/>
          </a:gradFill>
          <a:ln w="9525" cap="flat" cmpd="sng" algn="ctr">
            <a:noFill/>
            <a:prstDash val="solid"/>
          </a:ln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wrap="none" lIns="0" tIns="0" rIns="0" bIns="0" rtlCol="0" anchor="t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normalizeH="0" baseline="0" noProof="1">
              <a:ln>
                <a:noFill/>
              </a:ln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CA53EA4-27F2-4239-8E7F-357AFDCBF296}"/>
              </a:ext>
            </a:extLst>
          </p:cNvPr>
          <p:cNvSpPr/>
          <p:nvPr userDrawn="1"/>
        </p:nvSpPr>
        <p:spPr>
          <a:xfrm>
            <a:off x="-634" y="5568950"/>
            <a:ext cx="10970260" cy="61086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00A9891-35AD-460B-8230-7FCD14D05A01}"/>
              </a:ext>
            </a:extLst>
          </p:cNvPr>
          <p:cNvSpPr/>
          <p:nvPr userDrawn="1"/>
        </p:nvSpPr>
        <p:spPr>
          <a:xfrm>
            <a:off x="0" y="0"/>
            <a:ext cx="10969625" cy="21526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pic>
        <p:nvPicPr>
          <p:cNvPr id="6" name="Grafik 4" descr="logo1_d2.png">
            <a:extLst>
              <a:ext uri="{FF2B5EF4-FFF2-40B4-BE49-F238E27FC236}">
                <a16:creationId xmlns:a16="http://schemas.microsoft.com/office/drawing/2014/main" id="{173BBCFB-9404-4FBA-9EEC-E8008B6044A2}"/>
              </a:ext>
            </a:extLst>
          </p:cNvPr>
          <p:cNvPicPr>
            <a:picLocks noSelect="1"/>
          </p:cNvPicPr>
          <p:nvPr userDrawn="1">
            <p:custDataLst>
              <p:tags r:id="rId4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1210" y="5571490"/>
            <a:ext cx="1046480" cy="44323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10" name="Grafik 3" descr="right_d2.png">
            <a:extLst>
              <a:ext uri="{FF2B5EF4-FFF2-40B4-BE49-F238E27FC236}">
                <a16:creationId xmlns:a16="http://schemas.microsoft.com/office/drawing/2014/main" id="{649683E7-5D3C-46E0-92A4-661F3C29C858}"/>
              </a:ext>
            </a:extLst>
          </p:cNvPr>
          <p:cNvPicPr>
            <a:picLocks noSelect="1"/>
          </p:cNvPicPr>
          <p:nvPr userDrawn="1"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22670"/>
            <a:ext cx="10970260" cy="57150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FD8C3B7-D4C2-49FB-A234-B9EF65EF0E25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62560" y="615950"/>
            <a:ext cx="10650220" cy="4484370"/>
          </a:xfrm>
          <a:ln w="0">
            <a:noFill/>
          </a:ln>
          <a:effectLst/>
        </p:spPr>
        <p:txBody>
          <a:bodyPr lIns="90000" tIns="46800" rIns="90000" bIns="46800" anchor="t" anchorCtr="0">
            <a:normAutofit/>
          </a:bodyPr>
          <a:lstStyle>
            <a:lvl1pPr algn="l">
              <a:lnSpc>
                <a:spcPct val="100000"/>
              </a:lnSpc>
              <a:spcBef>
                <a:spcPts val="500"/>
              </a:spcBef>
              <a:defRPr sz="8000" b="1"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1"/>
              <a:t>Add Presentation Title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DC9218DA-DBF4-4CD0-B731-A2E348CC9CB0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266700" y="5628640"/>
            <a:ext cx="288290" cy="410210"/>
          </a:xfrm>
          <a:prstGeom prst="rect">
            <a:avLst/>
          </a:prstGeom>
        </p:spPr>
        <p:txBody>
          <a:bodyPr/>
          <a:lstStyle>
            <a:lvl1pPr>
              <a:defRPr kern="0" baseline="0">
                <a:solidFill>
                  <a:schemeClr val="accent3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sp>
        <p:nvSpPr>
          <p:cNvPr id="20" name="Bosch_footer_1">
            <a:extLst>
              <a:ext uri="{FF2B5EF4-FFF2-40B4-BE49-F238E27FC236}">
                <a16:creationId xmlns:a16="http://schemas.microsoft.com/office/drawing/2014/main" id="{80B4A3E5-E447-486D-A7CC-FC275991782D}"/>
              </a:ext>
            </a:extLst>
          </p:cNvPr>
          <p:cNvSpPr txBox="1"/>
          <p:nvPr userDrawn="1"/>
        </p:nvSpPr>
        <p:spPr>
          <a:xfrm>
            <a:off x="593090" y="5643880"/>
            <a:ext cx="9152890" cy="1079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</a:pPr>
            <a:r>
              <a:rPr kumimoji="0" lang="en-US" sz="600" b="0" i="0" u="none" strike="noStrike" kern="0" cap="none" spc="0" normalizeH="0" baseline="0" noProof="1">
                <a:ln>
                  <a:noFill/>
                </a:ln>
                <a:solidFill>
                  <a:srgbClr val="002B49"/>
                </a:solidFill>
                <a:effectLst/>
                <a:uLnTx/>
                <a:uFillTx/>
                <a:latin typeface="Bosch Office Sans" pitchFamily="2" charset="0"/>
              </a:rPr>
              <a:t>DC-JS/PRM-T | 05.07.2022</a:t>
            </a:r>
          </a:p>
        </p:txBody>
      </p:sp>
      <p:sp>
        <p:nvSpPr>
          <p:cNvPr id="21" name="Bosch_footer_2">
            <a:extLst>
              <a:ext uri="{FF2B5EF4-FFF2-40B4-BE49-F238E27FC236}">
                <a16:creationId xmlns:a16="http://schemas.microsoft.com/office/drawing/2014/main" id="{D5968D98-C473-4458-8AB5-9E3F3112EC80}"/>
              </a:ext>
            </a:extLst>
          </p:cNvPr>
          <p:cNvSpPr txBox="1"/>
          <p:nvPr userDrawn="1"/>
        </p:nvSpPr>
        <p:spPr>
          <a:xfrm>
            <a:off x="593090" y="5748656"/>
            <a:ext cx="9152890" cy="215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0000"/>
              </a:lnSpc>
              <a:spcAft>
                <a:spcPts val="100"/>
              </a:spcAft>
            </a:pPr>
            <a:r>
              <a:rPr lang="en-US" sz="600" b="0" i="0" u="none" kern="0" baseline="0" noProof="1">
                <a:solidFill>
                  <a:srgbClr val="819EB1"/>
                </a:solidFill>
                <a:latin typeface="Bosch Office Sans" pitchFamily="2" charset="0"/>
              </a:rPr>
              <a:t>© Bosch Rexroth AG 2021. All rights reserved, also regarding any disposal, exploitation, reproduction, editing, distribution, as well as in the event of applications for industrial property rights.</a:t>
            </a:r>
          </a:p>
        </p:txBody>
      </p:sp>
    </p:spTree>
    <p:extLst>
      <p:ext uri="{BB962C8B-B14F-4D97-AF65-F5344CB8AC3E}">
        <p14:creationId xmlns:p14="http://schemas.microsoft.com/office/powerpoint/2010/main" val="706023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8" orient="horz" pos="387">
          <p15:clr>
            <a:srgbClr val="FBAE40"/>
          </p15:clr>
        </p15:guide>
        <p15:guide id="23" orient="horz" pos="3212">
          <p15:clr>
            <a:srgbClr val="FBAE40"/>
          </p15:clr>
        </p15:guide>
        <p15:guide id="24" pos="102">
          <p15:clr>
            <a:srgbClr val="FBAE40"/>
          </p15:clr>
        </p15:guide>
        <p15:guide id="25" pos="681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8688C4A9-6935-4976-B763-51A26513B02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218440"/>
            <a:ext cx="10969625" cy="534924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none" lIns="0" tIns="0" rIns="0" bIns="0" rtlCol="0" anchor="t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normalizeH="0" baseline="0" noProof="1">
              <a:ln>
                <a:noFill/>
              </a:ln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AB50EA0-E9D9-4C54-AC28-31ADD2EDF3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5180330"/>
            <a:ext cx="10969625" cy="388620"/>
          </a:xfrm>
          <a:prstGeom prst="rect">
            <a:avLst/>
          </a:prstGeom>
          <a:gradFill flip="none" rotWithShape="1">
            <a:gsLst>
              <a:gs pos="49900">
                <a:schemeClr val="bg1">
                  <a:alpha val="0"/>
                </a:schemeClr>
              </a:gs>
              <a:gs pos="50000">
                <a:srgbClr val="FFFFFF"/>
              </a:gs>
            </a:gsLst>
            <a:lin ang="5286000" scaled="0"/>
            <a:tileRect/>
          </a:gradFill>
          <a:ln w="9525" cap="flat" cmpd="sng" algn="ctr">
            <a:noFill/>
            <a:prstDash val="solid"/>
          </a:ln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wrap="none" lIns="0" tIns="0" rIns="0" bIns="0" rtlCol="0" anchor="t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normalizeH="0" baseline="0" noProof="1">
              <a:ln>
                <a:noFill/>
              </a:ln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57CFBBC-784E-4AF4-961C-AF2C068D6DA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218440"/>
            <a:ext cx="10969625" cy="388620"/>
          </a:xfrm>
          <a:prstGeom prst="rect">
            <a:avLst/>
          </a:prstGeom>
          <a:gradFill flip="none" rotWithShape="1">
            <a:gsLst>
              <a:gs pos="49900">
                <a:srgbClr val="FFFFFF"/>
              </a:gs>
              <a:gs pos="50000">
                <a:srgbClr val="FFFFFF">
                  <a:alpha val="0"/>
                </a:srgbClr>
              </a:gs>
            </a:gsLst>
            <a:lin ang="5286000" scaled="0"/>
            <a:tileRect/>
          </a:gradFill>
          <a:ln w="9525" cap="flat" cmpd="sng" algn="ctr">
            <a:noFill/>
            <a:prstDash val="solid"/>
          </a:ln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wrap="none" lIns="0" tIns="0" rIns="0" bIns="0" rtlCol="0" anchor="t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normalizeH="0" baseline="0" noProof="1">
              <a:ln>
                <a:noFill/>
              </a:ln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E0957D2-B56A-4595-89FC-2AFF01F19660}"/>
              </a:ext>
            </a:extLst>
          </p:cNvPr>
          <p:cNvSpPr/>
          <p:nvPr userDrawn="1"/>
        </p:nvSpPr>
        <p:spPr>
          <a:xfrm>
            <a:off x="-634" y="5568950"/>
            <a:ext cx="10970260" cy="61086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74CD303F-ECD9-4B7F-9F1C-AB4701A7DA27}"/>
              </a:ext>
            </a:extLst>
          </p:cNvPr>
          <p:cNvSpPr/>
          <p:nvPr userDrawn="1"/>
        </p:nvSpPr>
        <p:spPr>
          <a:xfrm>
            <a:off x="0" y="0"/>
            <a:ext cx="10969625" cy="21526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pic>
        <p:nvPicPr>
          <p:cNvPr id="7" name="Grafik 4" descr="logo1_d2.png">
            <a:extLst>
              <a:ext uri="{FF2B5EF4-FFF2-40B4-BE49-F238E27FC236}">
                <a16:creationId xmlns:a16="http://schemas.microsoft.com/office/drawing/2014/main" id="{7868D6E5-0EC1-4883-8CF9-7E8712A5DE97}"/>
              </a:ext>
            </a:extLst>
          </p:cNvPr>
          <p:cNvPicPr>
            <a:picLocks noSelect="1"/>
          </p:cNvPicPr>
          <p:nvPr userDrawn="1">
            <p:custDataLst>
              <p:tags r:id="rId4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1210" y="5571490"/>
            <a:ext cx="1046480" cy="44323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9" name="Grafik 3" descr="right_d2.png">
            <a:extLst>
              <a:ext uri="{FF2B5EF4-FFF2-40B4-BE49-F238E27FC236}">
                <a16:creationId xmlns:a16="http://schemas.microsoft.com/office/drawing/2014/main" id="{24DBB17F-A4BD-455D-A654-0625D135562B}"/>
              </a:ext>
            </a:extLst>
          </p:cNvPr>
          <p:cNvPicPr>
            <a:picLocks noSelect="1"/>
          </p:cNvPicPr>
          <p:nvPr userDrawn="1"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22670"/>
            <a:ext cx="10970260" cy="57150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FAD7135-005D-48EE-88E4-B607575395BC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266700" y="5628640"/>
            <a:ext cx="288290" cy="41021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FD8C3B7-D4C2-49FB-A234-B9EF65EF0E25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62560" y="615950"/>
            <a:ext cx="10650220" cy="4484370"/>
          </a:xfrm>
          <a:ln w="0">
            <a:noFill/>
          </a:ln>
          <a:effectLst/>
        </p:spPr>
        <p:txBody>
          <a:bodyPr lIns="90000" tIns="46800" rIns="90000" bIns="46800" anchor="t" anchorCtr="0">
            <a:normAutofit/>
          </a:bodyPr>
          <a:lstStyle>
            <a:lvl1pPr algn="l">
              <a:lnSpc>
                <a:spcPct val="100000"/>
              </a:lnSpc>
              <a:spcBef>
                <a:spcPts val="500"/>
              </a:spcBef>
              <a:defRPr sz="8000" b="1" kern="1200"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1"/>
              <a:t>Add Presentation Title</a:t>
            </a:r>
          </a:p>
        </p:txBody>
      </p:sp>
      <p:sp>
        <p:nvSpPr>
          <p:cNvPr id="15" name="Bosch_footer_1">
            <a:extLst>
              <a:ext uri="{FF2B5EF4-FFF2-40B4-BE49-F238E27FC236}">
                <a16:creationId xmlns:a16="http://schemas.microsoft.com/office/drawing/2014/main" id="{A93F0E3D-058C-4558-9E94-9F59340CA40B}"/>
              </a:ext>
            </a:extLst>
          </p:cNvPr>
          <p:cNvSpPr txBox="1"/>
          <p:nvPr userDrawn="1"/>
        </p:nvSpPr>
        <p:spPr>
          <a:xfrm>
            <a:off x="593090" y="5643880"/>
            <a:ext cx="9152890" cy="1079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</a:pPr>
            <a:r>
              <a:rPr kumimoji="0" lang="en-US" sz="600" b="0" i="0" u="none" strike="noStrike" kern="0" cap="none" spc="0" normalizeH="0" baseline="0" noProof="1">
                <a:ln>
                  <a:noFill/>
                </a:ln>
                <a:solidFill>
                  <a:srgbClr val="002B49"/>
                </a:solidFill>
                <a:effectLst/>
                <a:uLnTx/>
                <a:uFillTx/>
                <a:latin typeface="Bosch Office Sans" pitchFamily="2" charset="0"/>
              </a:rPr>
              <a:t>DC-JS/PRM-T | 05.07.2022</a:t>
            </a:r>
          </a:p>
        </p:txBody>
      </p:sp>
      <p:sp>
        <p:nvSpPr>
          <p:cNvPr id="16" name="Bosch_footer_2">
            <a:extLst>
              <a:ext uri="{FF2B5EF4-FFF2-40B4-BE49-F238E27FC236}">
                <a16:creationId xmlns:a16="http://schemas.microsoft.com/office/drawing/2014/main" id="{5F833844-3DD0-48BE-9ABB-DF5F5292810A}"/>
              </a:ext>
            </a:extLst>
          </p:cNvPr>
          <p:cNvSpPr txBox="1"/>
          <p:nvPr userDrawn="1"/>
        </p:nvSpPr>
        <p:spPr>
          <a:xfrm>
            <a:off x="593090" y="5748656"/>
            <a:ext cx="9152890" cy="215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0000"/>
              </a:lnSpc>
              <a:spcAft>
                <a:spcPts val="100"/>
              </a:spcAft>
            </a:pPr>
            <a:r>
              <a:rPr lang="en-US" sz="600" b="0" i="0" u="none" kern="0" baseline="0" noProof="1">
                <a:solidFill>
                  <a:srgbClr val="819EB1"/>
                </a:solidFill>
                <a:latin typeface="Bosch Office Sans" pitchFamily="2" charset="0"/>
              </a:rPr>
              <a:t>© Bosch Rexroth AG 2021. All rights reserved, also regarding any disposal, exploitation, reproduction, editing, distribution, as well as in the event of applications for industrial property rights.</a:t>
            </a:r>
          </a:p>
        </p:txBody>
      </p:sp>
    </p:spTree>
    <p:extLst>
      <p:ext uri="{BB962C8B-B14F-4D97-AF65-F5344CB8AC3E}">
        <p14:creationId xmlns:p14="http://schemas.microsoft.com/office/powerpoint/2010/main" val="101382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102">
          <p15:clr>
            <a:srgbClr val="FBAE40"/>
          </p15:clr>
        </p15:guide>
        <p15:guide id="13" pos="6811">
          <p15:clr>
            <a:srgbClr val="FBAE40"/>
          </p15:clr>
        </p15:guide>
        <p15:guide id="26" orient="horz" pos="388">
          <p15:clr>
            <a:srgbClr val="FBAE40"/>
          </p15:clr>
        </p15:guide>
        <p15:guide id="27" orient="horz" pos="321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Title Slide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C683E0B1-27DF-4B21-928B-818D518D883A}"/>
              </a:ext>
            </a:extLst>
          </p:cNvPr>
          <p:cNvSpPr/>
          <p:nvPr userDrawn="1"/>
        </p:nvSpPr>
        <p:spPr>
          <a:xfrm>
            <a:off x="-634" y="5568950"/>
            <a:ext cx="10970260" cy="61086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A5A69D4C-A446-4EC6-9EF9-1695CFE39AE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5183504"/>
            <a:ext cx="10969625" cy="388620"/>
          </a:xfrm>
          <a:prstGeom prst="rect">
            <a:avLst/>
          </a:prstGeom>
          <a:gradFill flip="none" rotWithShape="1">
            <a:gsLst>
              <a:gs pos="49900">
                <a:schemeClr val="bg1">
                  <a:alpha val="0"/>
                </a:schemeClr>
              </a:gs>
              <a:gs pos="50000">
                <a:srgbClr val="FFFFFF"/>
              </a:gs>
            </a:gsLst>
            <a:lin ang="5286000" scaled="0"/>
            <a:tileRect/>
          </a:gradFill>
          <a:ln w="9525" cap="flat" cmpd="sng" algn="ctr">
            <a:noFill/>
            <a:prstDash val="solid"/>
          </a:ln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wrap="none" lIns="0" tIns="0" rIns="0" bIns="0" rtlCol="0" anchor="t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normalizeH="0" baseline="0" noProof="1">
              <a:ln>
                <a:noFill/>
              </a:ln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4F81291-0BB3-4282-999F-8EDFB72BE6B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218440"/>
            <a:ext cx="10969625" cy="388620"/>
          </a:xfrm>
          <a:prstGeom prst="rect">
            <a:avLst/>
          </a:prstGeom>
          <a:gradFill flip="none" rotWithShape="1">
            <a:gsLst>
              <a:gs pos="49900">
                <a:srgbClr val="FFFFFF"/>
              </a:gs>
              <a:gs pos="50000">
                <a:srgbClr val="FFFFFF">
                  <a:alpha val="0"/>
                </a:srgbClr>
              </a:gs>
            </a:gsLst>
            <a:lin ang="5286000" scaled="0"/>
            <a:tileRect/>
          </a:gradFill>
          <a:ln w="9525" cap="flat" cmpd="sng" algn="ctr">
            <a:noFill/>
            <a:prstDash val="solid"/>
          </a:ln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wrap="none" lIns="0" tIns="0" rIns="0" bIns="0" rtlCol="0" anchor="t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normalizeH="0" baseline="0" noProof="1">
              <a:ln>
                <a:noFill/>
              </a:ln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9269FDD-E19A-4E8A-80DD-C5549C1FB430}"/>
              </a:ext>
            </a:extLst>
          </p:cNvPr>
          <p:cNvSpPr/>
          <p:nvPr userDrawn="1"/>
        </p:nvSpPr>
        <p:spPr>
          <a:xfrm>
            <a:off x="0" y="-1"/>
            <a:ext cx="10969625" cy="21843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0D84C58A-C176-47E5-9BFB-4C39A331C53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0" y="1407161"/>
            <a:ext cx="5556614" cy="1067282"/>
          </a:xfrm>
          <a:solidFill>
            <a:schemeClr val="accent2"/>
          </a:solidFill>
        </p:spPr>
        <p:txBody>
          <a:bodyPr wrap="none" lIns="190800" tIns="108000" rIns="190800" bIns="12600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60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1"/>
              <a:t>Please enter conten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FD8C3B7-D4C2-49FB-A234-B9EF65EF0E25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561340" y="237491"/>
            <a:ext cx="8805901" cy="1067282"/>
          </a:xfrm>
          <a:solidFill>
            <a:schemeClr val="accent2"/>
          </a:solidFill>
          <a:ln w="0">
            <a:noFill/>
          </a:ln>
          <a:effectLst/>
        </p:spPr>
        <p:txBody>
          <a:bodyPr wrap="none" lIns="190800" tIns="108000" rIns="190800" bIns="126000" anchor="t" anchorCtr="0">
            <a:spAutoFit/>
          </a:bodyPr>
          <a:lstStyle>
            <a:lvl1pPr algn="l">
              <a:lnSpc>
                <a:spcPct val="90000"/>
              </a:lnSpc>
              <a:defRPr sz="6000" b="1" i="0"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1"/>
              <a:t>Add Presentation Title</a:t>
            </a:r>
          </a:p>
        </p:txBody>
      </p:sp>
      <p:pic>
        <p:nvPicPr>
          <p:cNvPr id="7" name="Grafik 4" descr="logo1_d2.png">
            <a:extLst>
              <a:ext uri="{FF2B5EF4-FFF2-40B4-BE49-F238E27FC236}">
                <a16:creationId xmlns:a16="http://schemas.microsoft.com/office/drawing/2014/main" id="{EFF0EBDE-7B9D-4454-9B44-8763A24EC960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1210" y="5571490"/>
            <a:ext cx="1046480" cy="44323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9" name="Grafik 3" descr="right_d2.png">
            <a:extLst>
              <a:ext uri="{FF2B5EF4-FFF2-40B4-BE49-F238E27FC236}">
                <a16:creationId xmlns:a16="http://schemas.microsoft.com/office/drawing/2014/main" id="{24DBB17F-A4BD-455D-A654-0625D135562B}"/>
              </a:ext>
            </a:extLst>
          </p:cNvPr>
          <p:cNvPicPr>
            <a:picLocks noSelect="1"/>
          </p:cNvPicPr>
          <p:nvPr userDrawn="1">
            <p:custDataLst>
              <p:tags r:id="rId4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22670"/>
            <a:ext cx="10970260" cy="57150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A81DA41-F292-40C5-8B91-FEB3047B8A8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266700" y="5628640"/>
            <a:ext cx="288290" cy="41021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sp>
        <p:nvSpPr>
          <p:cNvPr id="14" name="Bosch_footer_1">
            <a:extLst>
              <a:ext uri="{FF2B5EF4-FFF2-40B4-BE49-F238E27FC236}">
                <a16:creationId xmlns:a16="http://schemas.microsoft.com/office/drawing/2014/main" id="{D1CE8A44-3AC0-472A-8C62-0F0D75D5708D}"/>
              </a:ext>
            </a:extLst>
          </p:cNvPr>
          <p:cNvSpPr txBox="1"/>
          <p:nvPr userDrawn="1"/>
        </p:nvSpPr>
        <p:spPr>
          <a:xfrm>
            <a:off x="593090" y="5643880"/>
            <a:ext cx="9152890" cy="1079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</a:pPr>
            <a:r>
              <a:rPr kumimoji="0" lang="en-US" sz="600" b="0" i="0" u="none" strike="noStrike" kern="0" cap="none" spc="0" normalizeH="0" baseline="0" noProof="1">
                <a:ln>
                  <a:noFill/>
                </a:ln>
                <a:solidFill>
                  <a:srgbClr val="002B49"/>
                </a:solidFill>
                <a:effectLst/>
                <a:uLnTx/>
                <a:uFillTx/>
                <a:latin typeface="Bosch Office Sans" pitchFamily="2" charset="0"/>
              </a:rPr>
              <a:t>DC-JS/PRM-T | 05.07.2022</a:t>
            </a:r>
          </a:p>
        </p:txBody>
      </p:sp>
      <p:sp>
        <p:nvSpPr>
          <p:cNvPr id="15" name="Bosch_footer_2">
            <a:extLst>
              <a:ext uri="{FF2B5EF4-FFF2-40B4-BE49-F238E27FC236}">
                <a16:creationId xmlns:a16="http://schemas.microsoft.com/office/drawing/2014/main" id="{6C61E22E-3D41-4D1A-87CD-07E2A899ACA0}"/>
              </a:ext>
            </a:extLst>
          </p:cNvPr>
          <p:cNvSpPr txBox="1"/>
          <p:nvPr userDrawn="1"/>
        </p:nvSpPr>
        <p:spPr>
          <a:xfrm>
            <a:off x="593090" y="5748656"/>
            <a:ext cx="9152890" cy="215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0000"/>
              </a:lnSpc>
              <a:spcAft>
                <a:spcPts val="100"/>
              </a:spcAft>
            </a:pPr>
            <a:r>
              <a:rPr lang="en-US" sz="600" b="0" i="0" u="none" kern="0" baseline="0" noProof="1">
                <a:solidFill>
                  <a:srgbClr val="819EB1"/>
                </a:solidFill>
                <a:latin typeface="Bosch Office Sans" pitchFamily="2" charset="0"/>
              </a:rPr>
              <a:t>© Bosch Rexroth AG 2021. All rights reserved, also regarding any disposal, exploitation, reproduction, editing, distribution, as well as in the event of applications for industrial property rights.</a:t>
            </a:r>
          </a:p>
        </p:txBody>
      </p:sp>
    </p:spTree>
    <p:extLst>
      <p:ext uri="{BB962C8B-B14F-4D97-AF65-F5344CB8AC3E}">
        <p14:creationId xmlns:p14="http://schemas.microsoft.com/office/powerpoint/2010/main" val="10915365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168">
          <p15:clr>
            <a:srgbClr val="FBAE40"/>
          </p15:clr>
        </p15:guide>
        <p15:guide id="15" pos="6139">
          <p15:clr>
            <a:srgbClr val="FBAE40"/>
          </p15:clr>
        </p15:guide>
        <p15:guide id="18" orient="horz" pos="3265">
          <p15:clr>
            <a:srgbClr val="FBAE40"/>
          </p15:clr>
        </p15:guide>
        <p15:guide id="23" orient="horz" pos="884">
          <p15:clr>
            <a:srgbClr val="FBAE40"/>
          </p15:clr>
        </p15:guide>
        <p15:guide id="24" orient="horz" pos="1558">
          <p15:clr>
            <a:srgbClr val="FBAE40"/>
          </p15:clr>
        </p15:guide>
        <p15:guide id="25" orient="horz" pos="149">
          <p15:clr>
            <a:srgbClr val="FBAE40"/>
          </p15:clr>
        </p15:guide>
        <p15:guide id="26" orient="horz" pos="82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hapter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pter_titleonly">
            <a:extLst>
              <a:ext uri="{FF2B5EF4-FFF2-40B4-BE49-F238E27FC236}">
                <a16:creationId xmlns:a16="http://schemas.microsoft.com/office/drawing/2014/main" id="{EE80FFE3-B9B2-433E-9111-10990FD419A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9540" y="129540"/>
            <a:ext cx="10711180" cy="5334000"/>
          </a:xfrm>
          <a:ln w="0">
            <a:noFill/>
          </a:ln>
          <a:effectLst/>
        </p:spPr>
        <p:txBody>
          <a:bodyPr lIns="129600" tIns="129600" rIns="129600" bIns="129600" anchor="t" anchorCtr="0"/>
          <a:lstStyle>
            <a:lvl1pPr algn="l">
              <a:lnSpc>
                <a:spcPct val="90000"/>
              </a:lnSpc>
              <a:defRPr sz="6000" b="1" cap="none" baseline="0">
                <a:solidFill>
                  <a:schemeClr val="accent1"/>
                </a:solidFill>
              </a:defRPr>
            </a:lvl1pPr>
          </a:lstStyle>
          <a:p>
            <a:r>
              <a:rPr lang="en-US" noProof="1"/>
              <a:t>Add Chapter Title</a:t>
            </a:r>
          </a:p>
        </p:txBody>
      </p:sp>
      <p:pic>
        <p:nvPicPr>
          <p:cNvPr id="5" name="Grafik 4" descr="logo1_d2.png">
            <a:extLst>
              <a:ext uri="{FF2B5EF4-FFF2-40B4-BE49-F238E27FC236}">
                <a16:creationId xmlns:a16="http://schemas.microsoft.com/office/drawing/2014/main" id="{FC6E8050-6AB1-433E-A876-5E84688D10B0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1210" y="5571490"/>
            <a:ext cx="1046480" cy="44323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7" name="Grafik 3" descr="right_d2.png">
            <a:extLst>
              <a:ext uri="{FF2B5EF4-FFF2-40B4-BE49-F238E27FC236}">
                <a16:creationId xmlns:a16="http://schemas.microsoft.com/office/drawing/2014/main" id="{50EF21B3-288B-44C8-B2D9-3FFE25CF4E6C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22670"/>
            <a:ext cx="10970260" cy="57150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BB61E12-9C07-4A09-BA5B-31ED7604CD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  <a:prstGeom prst="rect">
            <a:avLst/>
          </a:prstGeom>
        </p:spPr>
        <p:txBody>
          <a:bodyPr/>
          <a:lstStyle>
            <a:lvl1pPr>
              <a:defRPr kern="0" baseline="0">
                <a:solidFill>
                  <a:schemeClr val="accent3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3277542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81">
          <p15:clr>
            <a:srgbClr val="FBAE40"/>
          </p15:clr>
        </p15:guide>
        <p15:guide id="1" pos="6828">
          <p15:clr>
            <a:srgbClr val="FBAE40"/>
          </p15:clr>
        </p15:guide>
        <p15:guide id="10" orient="horz" pos="81">
          <p15:clr>
            <a:srgbClr val="FBAE40"/>
          </p15:clr>
        </p15:guide>
        <p15:guide id="11" orient="horz" pos="344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9080" y="259080"/>
            <a:ext cx="9872980" cy="5204460"/>
          </a:xfrm>
        </p:spPr>
        <p:txBody>
          <a:bodyPr anchor="ctr" anchorCtr="0"/>
          <a:lstStyle>
            <a:lvl1pPr>
              <a:lnSpc>
                <a:spcPct val="90000"/>
              </a:lnSpc>
              <a:defRPr sz="4000" i="1">
                <a:solidFill>
                  <a:schemeClr val="accent2"/>
                </a:solidFill>
              </a:defRPr>
            </a:lvl1pPr>
          </a:lstStyle>
          <a:p>
            <a:r>
              <a:rPr lang="en-US" noProof="1"/>
              <a:t>“Add Quotation”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  <a:prstGeom prst="rect">
            <a:avLst/>
          </a:prstGeom>
        </p:spPr>
        <p:txBody>
          <a:bodyPr/>
          <a:lstStyle>
            <a:lvl1pPr>
              <a:defRPr kern="0" baseline="0">
                <a:solidFill>
                  <a:schemeClr val="accent3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7" name="Grafik 3" descr="bottom_d2_169.png"/>
          <p:cNvPicPr>
            <a:picLocks noSelect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22670"/>
            <a:ext cx="10970260" cy="5715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11" name="Grafik 10" descr="logo2_d2.png">
            <a:extLst>
              <a:ext uri="{FF2B5EF4-FFF2-40B4-BE49-F238E27FC236}">
                <a16:creationId xmlns:a16="http://schemas.microsoft.com/office/drawing/2014/main" id="{77D5F5E1-4827-426B-99FE-8CE2E1270E26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41" cy="648000"/>
          </a:xfrm>
          <a:prstGeom prst="rect">
            <a:avLst/>
          </a:prstGeom>
        </p:spPr>
      </p:pic>
      <p:sp>
        <p:nvSpPr>
          <p:cNvPr id="12" name="Rectangle7">
            <a:extLst>
              <a:ext uri="{FF2B5EF4-FFF2-40B4-BE49-F238E27FC236}">
                <a16:creationId xmlns:a16="http://schemas.microsoft.com/office/drawing/2014/main" id="{855EB1A0-FDAA-4D62-99AE-E08E3E26E93B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5" name="Grafik 4" descr="logo1_d2.png">
            <a:extLst>
              <a:ext uri="{FF2B5EF4-FFF2-40B4-BE49-F238E27FC236}">
                <a16:creationId xmlns:a16="http://schemas.microsoft.com/office/drawing/2014/main" id="{6E018BBC-5CA8-4135-B38C-8681A1586972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1210" y="5571490"/>
            <a:ext cx="1046480" cy="443230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3395004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163">
          <p15:clr>
            <a:srgbClr val="FBAE40"/>
          </p15:clr>
        </p15:guide>
        <p15:guide id="1" pos="6382">
          <p15:clr>
            <a:srgbClr val="FBAE40"/>
          </p15:clr>
        </p15:guide>
        <p15:guide id="10" orient="horz" pos="163">
          <p15:clr>
            <a:srgbClr val="FBAE40"/>
          </p15:clr>
        </p15:guide>
        <p15:guide id="11" orient="horz" pos="344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9080" y="259199"/>
            <a:ext cx="9872980" cy="5205600"/>
          </a:xfrm>
        </p:spPr>
        <p:txBody>
          <a:bodyPr anchor="ctr" anchorCtr="0"/>
          <a:lstStyle>
            <a:lvl1pPr>
              <a:lnSpc>
                <a:spcPct val="90000"/>
              </a:lnSpc>
              <a:defRPr sz="4000" i="0">
                <a:solidFill>
                  <a:schemeClr val="accent2"/>
                </a:solidFill>
              </a:defRPr>
            </a:lvl1pPr>
          </a:lstStyle>
          <a:p>
            <a:r>
              <a:rPr lang="en-US" noProof="1"/>
              <a:t>Add Conclus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  <a:prstGeom prst="rect">
            <a:avLst/>
          </a:prstGeom>
        </p:spPr>
        <p:txBody>
          <a:bodyPr/>
          <a:lstStyle>
            <a:lvl1pPr>
              <a:defRPr kern="0" baseline="0">
                <a:solidFill>
                  <a:schemeClr val="accent3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7" name="Grafik 3" descr="bottom_d2_169.png"/>
          <p:cNvPicPr>
            <a:picLocks noSelect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22670"/>
            <a:ext cx="10970260" cy="5715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11" name="Grafik 10" descr="logo2_d2.png">
            <a:extLst>
              <a:ext uri="{FF2B5EF4-FFF2-40B4-BE49-F238E27FC236}">
                <a16:creationId xmlns:a16="http://schemas.microsoft.com/office/drawing/2014/main" id="{77D5F5E1-4827-426B-99FE-8CE2E1270E26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41" cy="648000"/>
          </a:xfrm>
          <a:prstGeom prst="rect">
            <a:avLst/>
          </a:prstGeom>
        </p:spPr>
      </p:pic>
      <p:sp>
        <p:nvSpPr>
          <p:cNvPr id="10" name="Rectangle7">
            <a:extLst>
              <a:ext uri="{FF2B5EF4-FFF2-40B4-BE49-F238E27FC236}">
                <a16:creationId xmlns:a16="http://schemas.microsoft.com/office/drawing/2014/main" id="{72390B9F-3EB3-4FEE-B4B2-61FC80890073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4" name="Grafik 4" descr="logo1_d2.png">
            <a:extLst>
              <a:ext uri="{FF2B5EF4-FFF2-40B4-BE49-F238E27FC236}">
                <a16:creationId xmlns:a16="http://schemas.microsoft.com/office/drawing/2014/main" id="{30F7B7DF-6F0E-4921-B877-3E2AD7D8C29A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1210" y="5571490"/>
            <a:ext cx="1046480" cy="443230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454487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163">
          <p15:clr>
            <a:srgbClr val="FBAE40"/>
          </p15:clr>
        </p15:guide>
        <p15:guide id="1" pos="6382">
          <p15:clr>
            <a:srgbClr val="FBAE40"/>
          </p15:clr>
        </p15:guide>
        <p15:guide id="10" orient="horz" pos="163">
          <p15:clr>
            <a:srgbClr val="FBAE40"/>
          </p15:clr>
        </p15:guide>
        <p15:guide id="11" orient="horz" pos="344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  <a:prstGeom prst="rect">
            <a:avLst/>
          </a:prstGeom>
        </p:spPr>
        <p:txBody>
          <a:bodyPr/>
          <a:lstStyle>
            <a:lvl1pPr>
              <a:defRPr kern="0" baseline="0">
                <a:solidFill>
                  <a:schemeClr val="accent3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" hasCustomPrompt="1"/>
          </p:nvPr>
        </p:nvSpPr>
        <p:spPr>
          <a:xfrm>
            <a:off x="259080" y="1295400"/>
            <a:ext cx="10452100" cy="4168140"/>
          </a:xfrm>
        </p:spPr>
        <p:txBody>
          <a:bodyPr/>
          <a:lstStyle>
            <a:lvl1pPr marL="251982" indent="-251982">
              <a:lnSpc>
                <a:spcPct val="107000"/>
              </a:lnSpc>
              <a:buFont typeface="+mj-lt"/>
              <a:buAutoNum type="arabicPeriod"/>
              <a:defRPr/>
            </a:lvl1pPr>
            <a:lvl2pPr marL="507563" indent="-273580">
              <a:lnSpc>
                <a:spcPct val="103000"/>
              </a:lnSpc>
              <a:buFont typeface="+mj-lt"/>
              <a:buAutoNum type="arabicPeriod"/>
              <a:defRPr/>
            </a:lvl2pPr>
            <a:lvl3pPr marL="730746" indent="-205185">
              <a:lnSpc>
                <a:spcPct val="102000"/>
              </a:lnSpc>
              <a:buFont typeface="+mj-lt"/>
              <a:buAutoNum type="arabicPeriod"/>
              <a:defRPr/>
            </a:lvl3pPr>
            <a:lvl4pPr marL="932331" indent="-183586">
              <a:lnSpc>
                <a:spcPct val="107000"/>
              </a:lnSpc>
              <a:buFont typeface="+mj-lt"/>
              <a:buAutoNum type="arabicPeriod"/>
              <a:defRPr/>
            </a:lvl4pPr>
            <a:lvl5pPr marL="932331" indent="-183586">
              <a:lnSpc>
                <a:spcPct val="103000"/>
              </a:lnSpc>
              <a:buFont typeface="+mj-lt"/>
              <a:buAutoNum type="arabicPeriod"/>
              <a:defRPr/>
            </a:lvl5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Rectangle7" hidden="1"/>
          <p:cNvSpPr>
            <a:spLocks/>
          </p:cNvSpPr>
          <p:nvPr/>
        </p:nvSpPr>
        <p:spPr>
          <a:xfrm>
            <a:off x="9224010" y="259078"/>
            <a:ext cx="1691640" cy="777721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/>
              </a:rPr>
              <a:t>%attachmentremark% </a:t>
            </a:r>
          </a:p>
        </p:txBody>
      </p:sp>
      <p:pic>
        <p:nvPicPr>
          <p:cNvPr id="25" name="Grafik 3" descr="bottom_d2_169.png">
            <a:extLst>
              <a:ext uri="{FF2B5EF4-FFF2-40B4-BE49-F238E27FC236}">
                <a16:creationId xmlns:a16="http://schemas.microsoft.com/office/drawing/2014/main" id="{5924583E-7B93-41AC-AC5B-430C0AD45AC7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22670"/>
            <a:ext cx="10970260" cy="5715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3" name="Grafik 32" descr="logo2_d2.png">
            <a:extLst>
              <a:ext uri="{FF2B5EF4-FFF2-40B4-BE49-F238E27FC236}">
                <a16:creationId xmlns:a16="http://schemas.microsoft.com/office/drawing/2014/main" id="{48E231CC-E3B9-4D96-AA06-B1CFFA847D96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41" cy="64800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3EC746CB-10AC-40C9-8647-79D1DEB9F93D}"/>
              </a:ext>
            </a:extLst>
          </p:cNvPr>
          <p:cNvSpPr txBox="1"/>
          <p:nvPr userDrawn="1"/>
        </p:nvSpPr>
        <p:spPr>
          <a:xfrm>
            <a:off x="259080" y="259200"/>
            <a:ext cx="10452100" cy="777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b="0" i="0" u="none" strike="noStrike" kern="1200" cap="all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genda</a:t>
            </a:r>
          </a:p>
        </p:txBody>
      </p:sp>
      <p:sp>
        <p:nvSpPr>
          <p:cNvPr id="12" name="Rectangle7">
            <a:extLst>
              <a:ext uri="{FF2B5EF4-FFF2-40B4-BE49-F238E27FC236}">
                <a16:creationId xmlns:a16="http://schemas.microsoft.com/office/drawing/2014/main" id="{F0D59F04-5C89-4857-A44C-3D9D9D3D938E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3" name="Grafik 4" descr="logo1_d2.png">
            <a:extLst>
              <a:ext uri="{FF2B5EF4-FFF2-40B4-BE49-F238E27FC236}">
                <a16:creationId xmlns:a16="http://schemas.microsoft.com/office/drawing/2014/main" id="{39A24C14-69FA-48C5-9BFC-E264F89C2E76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1210" y="5571490"/>
            <a:ext cx="1046480" cy="443230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887681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163">
          <p15:clr>
            <a:srgbClr val="FBAE40"/>
          </p15:clr>
        </p15:guide>
        <p15:guide id="1" pos="6747">
          <p15:clr>
            <a:srgbClr val="FBAE40"/>
          </p15:clr>
        </p15:guide>
        <p15:guide id="10" orient="horz" pos="816">
          <p15:clr>
            <a:srgbClr val="FBAE40"/>
          </p15:clr>
        </p15:guide>
        <p15:guide id="11" orient="horz" pos="3440">
          <p15:clr>
            <a:srgbClr val="FBAE40"/>
          </p15:clr>
        </p15:guide>
        <p15:guide id="12" orient="horz" pos="162">
          <p15:clr>
            <a:srgbClr val="FBAE40"/>
          </p15:clr>
        </p15:guide>
        <p15:guide id="17" orient="horz" pos="65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apter_titleonly"/>
          <p:cNvSpPr>
            <a:spLocks noGrp="1"/>
          </p:cNvSpPr>
          <p:nvPr>
            <p:ph type="body" idx="15" hasCustomPrompt="1"/>
          </p:nvPr>
        </p:nvSpPr>
        <p:spPr>
          <a:xfrm>
            <a:off x="259080" y="259200"/>
            <a:ext cx="10452100" cy="388800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89000"/>
              </a:lnSpc>
              <a:buNone/>
              <a:defRPr lang="de-DE" sz="2800" kern="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0"/>
              </a:spcBef>
              <a:buFont typeface="Wingdings 3" panose="05040102010807070707" pitchFamily="18" charset="2"/>
            </a:pPr>
            <a:r>
              <a:rPr lang="en-US" noProof="1"/>
              <a:t>Add Chapter Title</a:t>
            </a:r>
          </a:p>
        </p:txBody>
      </p:sp>
      <p:sp>
        <p:nvSpPr>
          <p:cNvPr id="9" name="slide_title">
            <a:extLst>
              <a:ext uri="{FF2B5EF4-FFF2-40B4-BE49-F238E27FC236}">
                <a16:creationId xmlns:a16="http://schemas.microsoft.com/office/drawing/2014/main" id="{CE9D89DE-4B7A-4152-8E47-903CAF20AB0B}"/>
              </a:ext>
            </a:extLst>
          </p:cNvPr>
          <p:cNvSpPr>
            <a:spLocks noGrp="1"/>
          </p:cNvSpPr>
          <p:nvPr>
            <p:ph type="title" sz="quarter" hasCustomPrompt="1"/>
          </p:nvPr>
        </p:nvSpPr>
        <p:spPr>
          <a:xfrm>
            <a:off x="259080" y="648000"/>
            <a:ext cx="10452100" cy="3888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  <a:prstGeom prst="rect">
            <a:avLst/>
          </a:prstGeom>
        </p:spPr>
        <p:txBody>
          <a:bodyPr/>
          <a:lstStyle>
            <a:lvl1pPr>
              <a:defRPr kern="0" baseline="0">
                <a:solidFill>
                  <a:schemeClr val="accent3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28" name="Grafik 3" descr="bottom_d2_169.png">
            <a:extLst>
              <a:ext uri="{FF2B5EF4-FFF2-40B4-BE49-F238E27FC236}">
                <a16:creationId xmlns:a16="http://schemas.microsoft.com/office/drawing/2014/main" id="{EE92306B-89C4-4A4D-81C1-DE629B5A33A0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22670"/>
            <a:ext cx="10970260" cy="5715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5" name="Grafik 34" descr="logo2_d2.png">
            <a:extLst>
              <a:ext uri="{FF2B5EF4-FFF2-40B4-BE49-F238E27FC236}">
                <a16:creationId xmlns:a16="http://schemas.microsoft.com/office/drawing/2014/main" id="{4A0BB653-08E0-42FB-832C-B4ECC24A4E72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41" cy="648000"/>
          </a:xfrm>
          <a:prstGeom prst="rect">
            <a:avLst/>
          </a:prstGeom>
        </p:spPr>
      </p:pic>
      <p:sp>
        <p:nvSpPr>
          <p:cNvPr id="10" name="Rectangle7">
            <a:extLst>
              <a:ext uri="{FF2B5EF4-FFF2-40B4-BE49-F238E27FC236}">
                <a16:creationId xmlns:a16="http://schemas.microsoft.com/office/drawing/2014/main" id="{8883D326-CEAD-4903-8269-B2D194C3C224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1" name="Grafik 4" descr="logo1_d2.png">
            <a:extLst>
              <a:ext uri="{FF2B5EF4-FFF2-40B4-BE49-F238E27FC236}">
                <a16:creationId xmlns:a16="http://schemas.microsoft.com/office/drawing/2014/main" id="{EA45B0BA-5E3B-4D0F-8BE3-B1AAA7A49623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1210" y="5571490"/>
            <a:ext cx="1046480" cy="44323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94B703AB-5E24-4074-9680-72B829D2759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7543" y="647699"/>
            <a:ext cx="1156918" cy="401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234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163">
          <p15:clr>
            <a:srgbClr val="FBAE40"/>
          </p15:clr>
        </p15:guide>
        <p15:guide id="1" pos="6747">
          <p15:clr>
            <a:srgbClr val="FBAE40"/>
          </p15:clr>
        </p15:guide>
        <p15:guide id="10" orient="horz" pos="163">
          <p15:clr>
            <a:srgbClr val="FBAE40"/>
          </p15:clr>
        </p15:guide>
        <p15:guide id="11" orient="horz" pos="408">
          <p15:clr>
            <a:srgbClr val="FBAE40"/>
          </p15:clr>
        </p15:guide>
        <p15:guide id="15" orient="horz" pos="652">
          <p15:clr>
            <a:srgbClr val="FBAE40"/>
          </p15:clr>
        </p15:guide>
        <p15:guide id="16" orient="horz" pos="34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pter_titleonly">
            <a:extLst>
              <a:ext uri="{FF2B5EF4-FFF2-40B4-BE49-F238E27FC236}">
                <a16:creationId xmlns:a16="http://schemas.microsoft.com/office/drawing/2014/main" id="{33FCED84-34F3-40A1-AACC-2C46141FAA1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259080" y="259200"/>
            <a:ext cx="10452100" cy="388800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89000"/>
              </a:lnSpc>
              <a:buNone/>
              <a:defRPr lang="de-DE" sz="2800" kern="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0"/>
              </a:spcBef>
              <a:buFont typeface="Wingdings 3" panose="05040102010807070707" pitchFamily="18" charset="2"/>
            </a:pPr>
            <a:r>
              <a:rPr lang="en-US" noProof="1"/>
              <a:t>Add Chapter Title</a:t>
            </a:r>
          </a:p>
        </p:txBody>
      </p:sp>
      <p:sp>
        <p:nvSpPr>
          <p:cNvPr id="15" name="slide_title">
            <a:extLst>
              <a:ext uri="{FF2B5EF4-FFF2-40B4-BE49-F238E27FC236}">
                <a16:creationId xmlns:a16="http://schemas.microsoft.com/office/drawing/2014/main" id="{C0A6F091-52AD-4C0A-8D32-80EE860A9980}"/>
              </a:ext>
            </a:extLst>
          </p:cNvPr>
          <p:cNvSpPr>
            <a:spLocks noGrp="1"/>
          </p:cNvSpPr>
          <p:nvPr>
            <p:ph type="title" sz="quarter" hasCustomPrompt="1"/>
          </p:nvPr>
        </p:nvSpPr>
        <p:spPr>
          <a:xfrm>
            <a:off x="259080" y="648000"/>
            <a:ext cx="10452100" cy="3888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  <a:prstGeom prst="rect">
            <a:avLst/>
          </a:prstGeom>
        </p:spPr>
        <p:txBody>
          <a:bodyPr/>
          <a:lstStyle>
            <a:lvl1pPr>
              <a:defRPr kern="0" baseline="0">
                <a:solidFill>
                  <a:schemeClr val="accent3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28" name="Grafik 3" descr="bottom_d2_169.png">
            <a:extLst>
              <a:ext uri="{FF2B5EF4-FFF2-40B4-BE49-F238E27FC236}">
                <a16:creationId xmlns:a16="http://schemas.microsoft.com/office/drawing/2014/main" id="{EE92306B-89C4-4A4D-81C1-DE629B5A33A0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22670"/>
            <a:ext cx="10970260" cy="5715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5" name="Grafik 34" descr="logo2_d2.png">
            <a:extLst>
              <a:ext uri="{FF2B5EF4-FFF2-40B4-BE49-F238E27FC236}">
                <a16:creationId xmlns:a16="http://schemas.microsoft.com/office/drawing/2014/main" id="{4A0BB653-08E0-42FB-832C-B4ECC24A4E72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41" cy="648000"/>
          </a:xfrm>
          <a:prstGeom prst="rect">
            <a:avLst/>
          </a:prstGeom>
        </p:spPr>
      </p:pic>
      <p:sp>
        <p:nvSpPr>
          <p:cNvPr id="10" name="Rectangle7">
            <a:extLst>
              <a:ext uri="{FF2B5EF4-FFF2-40B4-BE49-F238E27FC236}">
                <a16:creationId xmlns:a16="http://schemas.microsoft.com/office/drawing/2014/main" id="{8883D326-CEAD-4903-8269-B2D194C3C224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1" name="Grafik 4" descr="logo1_d2.png">
            <a:extLst>
              <a:ext uri="{FF2B5EF4-FFF2-40B4-BE49-F238E27FC236}">
                <a16:creationId xmlns:a16="http://schemas.microsoft.com/office/drawing/2014/main" id="{EA45B0BA-5E3B-4D0F-8BE3-B1AAA7A49623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1210" y="5571490"/>
            <a:ext cx="1046480" cy="443230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D46C5CB-CB38-4AD2-99D2-34C738DF30C0}"/>
              </a:ext>
            </a:extLst>
          </p:cNvPr>
          <p:cNvSpPr>
            <a:spLocks noGrp="1"/>
          </p:cNvSpPr>
          <p:nvPr>
            <p:ph sz="quarter" idx="1" hasCustomPrompt="1"/>
          </p:nvPr>
        </p:nvSpPr>
        <p:spPr>
          <a:xfrm>
            <a:off x="259080" y="1295400"/>
            <a:ext cx="1045210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8D0EDAA-FCBB-4024-BCE7-6E76AFDB9D4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7543" y="647699"/>
            <a:ext cx="1156918" cy="401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12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163">
          <p15:clr>
            <a:srgbClr val="FBAE40"/>
          </p15:clr>
        </p15:guide>
        <p15:guide id="1" pos="6747">
          <p15:clr>
            <a:srgbClr val="FBAE40"/>
          </p15:clr>
        </p15:guide>
        <p15:guide id="10" orient="horz" pos="163">
          <p15:clr>
            <a:srgbClr val="FBAE40"/>
          </p15:clr>
        </p15:guide>
        <p15:guide id="11" orient="horz" pos="408">
          <p15:clr>
            <a:srgbClr val="FBAE40"/>
          </p15:clr>
        </p15:guide>
        <p15:guide id="15" orient="horz" pos="652">
          <p15:clr>
            <a:srgbClr val="FBAE40"/>
          </p15:clr>
        </p15:guide>
        <p15:guide id="16" orient="horz" pos="816">
          <p15:clr>
            <a:srgbClr val="FBAE40"/>
          </p15:clr>
        </p15:guide>
        <p15:guide id="17" orient="horz" pos="344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Custom 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7FD8C3B7-D4C2-49FB-A234-B9EF65EF0E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4800" cy="5205600"/>
          </a:xfrm>
          <a:ln w="0">
            <a:noFill/>
          </a:ln>
          <a:effectLst/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7999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1"/>
              <a:t>Add Pres. Title</a:t>
            </a:r>
          </a:p>
        </p:txBody>
      </p:sp>
      <p:pic>
        <p:nvPicPr>
          <p:cNvPr id="7" name="Grafik 4" descr="logo1_d2.png">
            <a:extLst>
              <a:ext uri="{FF2B5EF4-FFF2-40B4-BE49-F238E27FC236}">
                <a16:creationId xmlns:a16="http://schemas.microsoft.com/office/drawing/2014/main" id="{EFF0EBDE-7B9D-4454-9B44-8763A24EC960}"/>
              </a:ext>
            </a:extLst>
          </p:cNvPr>
          <p:cNvPicPr>
            <a:picLocks noSel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9" name="Grafik 3" descr="right_d2.png">
            <a:extLst>
              <a:ext uri="{FF2B5EF4-FFF2-40B4-BE49-F238E27FC236}">
                <a16:creationId xmlns:a16="http://schemas.microsoft.com/office/drawing/2014/main" id="{24DBB17F-A4BD-455D-A654-0625D135562B}"/>
              </a:ext>
            </a:extLst>
          </p:cNvPr>
          <p:cNvPicPr>
            <a:picLocks noSel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76259289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vertical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pter_titleonly">
            <a:extLst>
              <a:ext uri="{FF2B5EF4-FFF2-40B4-BE49-F238E27FC236}">
                <a16:creationId xmlns:a16="http://schemas.microsoft.com/office/drawing/2014/main" id="{D33D57B9-D1BF-429C-A05C-2E6EE4CCE93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259080" y="259200"/>
            <a:ext cx="10452100" cy="388800"/>
          </a:xfrm>
        </p:spPr>
        <p:txBody>
          <a:bodyPr vert="horz" lIns="0" tIns="0" rIns="0" bIns="0" rtlCol="0"/>
          <a:lstStyle>
            <a:lvl1pPr>
              <a:lnSpc>
                <a:spcPct val="89000"/>
              </a:lnSpc>
              <a:buNone/>
              <a:defRPr sz="2800" kern="0" baseline="0">
                <a:solidFill>
                  <a:schemeClr val="accent1"/>
                </a:solidFill>
              </a:defRPr>
            </a:lvl1pPr>
          </a:lstStyle>
          <a:p>
            <a:pPr marL="0" lvl="0" indent="0">
              <a:spcBef>
                <a:spcPts val="0"/>
              </a:spcBef>
              <a:buFont typeface="Wingdings 3" panose="05040102010807070707" pitchFamily="18" charset="2"/>
            </a:pPr>
            <a:r>
              <a:rPr lang="en-US" noProof="1"/>
              <a:t>Add Chapter Title</a:t>
            </a:r>
          </a:p>
        </p:txBody>
      </p:sp>
      <p:sp>
        <p:nvSpPr>
          <p:cNvPr id="17" name="slide_title">
            <a:extLst>
              <a:ext uri="{FF2B5EF4-FFF2-40B4-BE49-F238E27FC236}">
                <a16:creationId xmlns:a16="http://schemas.microsoft.com/office/drawing/2014/main" id="{F65834A0-7F38-430B-B142-0F15EEF33EAF}"/>
              </a:ext>
            </a:extLst>
          </p:cNvPr>
          <p:cNvSpPr>
            <a:spLocks noGrp="1"/>
          </p:cNvSpPr>
          <p:nvPr>
            <p:ph type="title" sz="quarter" hasCustomPrompt="1"/>
          </p:nvPr>
        </p:nvSpPr>
        <p:spPr>
          <a:xfrm>
            <a:off x="259080" y="648000"/>
            <a:ext cx="10452100" cy="3888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080" y="1295400"/>
            <a:ext cx="485902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852160" y="1295400"/>
            <a:ext cx="485902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  <a:prstGeom prst="rect">
            <a:avLst/>
          </a:prstGeom>
        </p:spPr>
        <p:txBody>
          <a:bodyPr/>
          <a:lstStyle>
            <a:lvl1pPr>
              <a:defRPr kern="0" baseline="0">
                <a:solidFill>
                  <a:schemeClr val="accent3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29" name="Grafik 3" descr="bottom_d2_169.png">
            <a:extLst>
              <a:ext uri="{FF2B5EF4-FFF2-40B4-BE49-F238E27FC236}">
                <a16:creationId xmlns:a16="http://schemas.microsoft.com/office/drawing/2014/main" id="{2646ABA5-1E42-496E-B88F-BEBEC4B2C7B6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22670"/>
            <a:ext cx="10970260" cy="5715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0" name="Grafik 29" descr="logo2_d2.png">
            <a:extLst>
              <a:ext uri="{FF2B5EF4-FFF2-40B4-BE49-F238E27FC236}">
                <a16:creationId xmlns:a16="http://schemas.microsoft.com/office/drawing/2014/main" id="{BA9AAC15-C2E5-4D68-B499-7D3FC8760D94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41" cy="648000"/>
          </a:xfrm>
          <a:prstGeom prst="rect">
            <a:avLst/>
          </a:prstGeom>
        </p:spPr>
      </p:pic>
      <p:sp>
        <p:nvSpPr>
          <p:cNvPr id="12" name="Rectangle7">
            <a:extLst>
              <a:ext uri="{FF2B5EF4-FFF2-40B4-BE49-F238E27FC236}">
                <a16:creationId xmlns:a16="http://schemas.microsoft.com/office/drawing/2014/main" id="{0193DB20-8E77-4A05-AA77-554F32E8990F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4" name="Grafik 4" descr="logo1_d2.png">
            <a:extLst>
              <a:ext uri="{FF2B5EF4-FFF2-40B4-BE49-F238E27FC236}">
                <a16:creationId xmlns:a16="http://schemas.microsoft.com/office/drawing/2014/main" id="{AD1AA2B6-6C2F-4A14-9E4C-FB86A10EF6B2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1210" y="5571490"/>
            <a:ext cx="1046480" cy="44323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B8F5BB0C-291F-42BD-BE1A-73ECAB921A9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7543" y="647699"/>
            <a:ext cx="1156918" cy="401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4215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163">
          <p15:clr>
            <a:srgbClr val="FBAE40"/>
          </p15:clr>
        </p15:guide>
        <p15:guide id="1" pos="6747">
          <p15:clr>
            <a:srgbClr val="FBAE40"/>
          </p15:clr>
        </p15:guide>
        <p15:guide id="5" pos="3224">
          <p15:clr>
            <a:srgbClr val="FBAE40"/>
          </p15:clr>
        </p15:guide>
        <p15:guide id="6" pos="3686">
          <p15:clr>
            <a:srgbClr val="FBAE40"/>
          </p15:clr>
        </p15:guide>
        <p15:guide id="10" orient="horz" pos="163">
          <p15:clr>
            <a:srgbClr val="FBAE40"/>
          </p15:clr>
        </p15:guide>
        <p15:guide id="11" orient="horz" pos="408">
          <p15:clr>
            <a:srgbClr val="FBAE40"/>
          </p15:clr>
        </p15:guide>
        <p15:guide id="13" orient="horz" pos="653">
          <p15:clr>
            <a:srgbClr val="FBAE40"/>
          </p15:clr>
        </p15:guide>
        <p15:guide id="14" orient="horz" pos="816">
          <p15:clr>
            <a:srgbClr val="FBAE40"/>
          </p15:clr>
        </p15:guide>
        <p15:guide id="15" orient="horz" pos="344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hapter_titleonly">
            <a:extLst>
              <a:ext uri="{FF2B5EF4-FFF2-40B4-BE49-F238E27FC236}">
                <a16:creationId xmlns:a16="http://schemas.microsoft.com/office/drawing/2014/main" id="{A7BE0FAA-A17B-47B4-AEDD-2FACA472011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259080" y="259200"/>
            <a:ext cx="10452100" cy="388800"/>
          </a:xfrm>
        </p:spPr>
        <p:txBody>
          <a:bodyPr vert="horz" lIns="0" tIns="0" rIns="0" bIns="0" rtlCol="0"/>
          <a:lstStyle>
            <a:lvl1pPr>
              <a:lnSpc>
                <a:spcPct val="89000"/>
              </a:lnSpc>
              <a:buNone/>
              <a:defRPr sz="2800" kern="0" baseline="0">
                <a:solidFill>
                  <a:schemeClr val="accent1"/>
                </a:solidFill>
              </a:defRPr>
            </a:lvl1pPr>
          </a:lstStyle>
          <a:p>
            <a:pPr marL="0" lvl="0" indent="0">
              <a:spcBef>
                <a:spcPts val="0"/>
              </a:spcBef>
              <a:buFont typeface="Wingdings 3" panose="05040102010807070707" pitchFamily="18" charset="2"/>
            </a:pPr>
            <a:r>
              <a:rPr lang="en-US" noProof="1"/>
              <a:t>Add Chapter Title</a:t>
            </a:r>
          </a:p>
        </p:txBody>
      </p:sp>
      <p:sp>
        <p:nvSpPr>
          <p:cNvPr id="18" name="slide_title">
            <a:extLst>
              <a:ext uri="{FF2B5EF4-FFF2-40B4-BE49-F238E27FC236}">
                <a16:creationId xmlns:a16="http://schemas.microsoft.com/office/drawing/2014/main" id="{8466D3B3-E7C3-4CBE-9A38-5FE8BF51AAEA}"/>
              </a:ext>
            </a:extLst>
          </p:cNvPr>
          <p:cNvSpPr>
            <a:spLocks noGrp="1"/>
          </p:cNvSpPr>
          <p:nvPr>
            <p:ph type="title" sz="quarter" hasCustomPrompt="1"/>
          </p:nvPr>
        </p:nvSpPr>
        <p:spPr>
          <a:xfrm>
            <a:off x="259080" y="648000"/>
            <a:ext cx="10452100" cy="3888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080" y="1295399"/>
            <a:ext cx="312928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7561580" y="1295400"/>
            <a:ext cx="312928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  <a:prstGeom prst="rect">
            <a:avLst/>
          </a:prstGeom>
        </p:spPr>
        <p:txBody>
          <a:bodyPr/>
          <a:lstStyle>
            <a:lvl1pPr>
              <a:defRPr kern="0" baseline="0">
                <a:solidFill>
                  <a:schemeClr val="accent3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29" name="Grafik 3" descr="bottom_d2_169.png">
            <a:extLst>
              <a:ext uri="{FF2B5EF4-FFF2-40B4-BE49-F238E27FC236}">
                <a16:creationId xmlns:a16="http://schemas.microsoft.com/office/drawing/2014/main" id="{2646ABA5-1E42-496E-B88F-BEBEC4B2C7B6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22670"/>
            <a:ext cx="10970260" cy="5715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0" name="Grafik 29" descr="logo2_d2.png">
            <a:extLst>
              <a:ext uri="{FF2B5EF4-FFF2-40B4-BE49-F238E27FC236}">
                <a16:creationId xmlns:a16="http://schemas.microsoft.com/office/drawing/2014/main" id="{BA9AAC15-C2E5-4D68-B499-7D3FC8760D94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41" cy="648000"/>
          </a:xfrm>
          <a:prstGeom prst="rect">
            <a:avLst/>
          </a:prstGeom>
        </p:spPr>
      </p:pic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3F3E027D-9EE5-4C12-9974-36EA025C350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910330" y="1295400"/>
            <a:ext cx="312928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3" name="Rectangle7">
            <a:extLst>
              <a:ext uri="{FF2B5EF4-FFF2-40B4-BE49-F238E27FC236}">
                <a16:creationId xmlns:a16="http://schemas.microsoft.com/office/drawing/2014/main" id="{79759149-285E-4F0E-938E-7199B34084BE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6" name="Grafik 4" descr="logo1_d2.png">
            <a:extLst>
              <a:ext uri="{FF2B5EF4-FFF2-40B4-BE49-F238E27FC236}">
                <a16:creationId xmlns:a16="http://schemas.microsoft.com/office/drawing/2014/main" id="{853C9362-E049-4C5A-93EB-CA7DB346BCAC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1210" y="5571490"/>
            <a:ext cx="1046480" cy="44323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F0E29FCA-270D-4777-BEF3-FB0C61863C7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7543" y="647699"/>
            <a:ext cx="1156918" cy="401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3777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163">
          <p15:clr>
            <a:srgbClr val="FBAE40"/>
          </p15:clr>
        </p15:guide>
        <p15:guide id="5" pos="2134">
          <p15:clr>
            <a:srgbClr val="FBAE40"/>
          </p15:clr>
        </p15:guide>
        <p15:guide id="6" pos="4763">
          <p15:clr>
            <a:srgbClr val="FBAE40"/>
          </p15:clr>
        </p15:guide>
        <p15:guide id="7" pos="6734">
          <p15:clr>
            <a:srgbClr val="FBAE40"/>
          </p15:clr>
        </p15:guide>
        <p15:guide id="8" pos="2463">
          <p15:clr>
            <a:srgbClr val="FBAE40"/>
          </p15:clr>
        </p15:guide>
        <p15:guide id="9" pos="4434">
          <p15:clr>
            <a:srgbClr val="FBAE40"/>
          </p15:clr>
        </p15:guide>
        <p15:guide id="12" orient="horz" pos="163">
          <p15:clr>
            <a:srgbClr val="FBAE40"/>
          </p15:clr>
        </p15:guide>
        <p15:guide id="13" orient="horz" pos="408">
          <p15:clr>
            <a:srgbClr val="FBAE40"/>
          </p15:clr>
        </p15:guide>
        <p15:guide id="14" orient="horz" pos="653">
          <p15:clr>
            <a:srgbClr val="FBAE40"/>
          </p15:clr>
        </p15:guide>
        <p15:guide id="16" orient="horz" pos="3441">
          <p15:clr>
            <a:srgbClr val="FBAE40"/>
          </p15:clr>
        </p15:guide>
        <p15:guide id="17" orient="horz" pos="816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hapter_titleonly">
            <a:extLst>
              <a:ext uri="{FF2B5EF4-FFF2-40B4-BE49-F238E27FC236}">
                <a16:creationId xmlns:a16="http://schemas.microsoft.com/office/drawing/2014/main" id="{54A08D7F-0189-43B8-B1B5-985B40CA1DE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259080" y="259200"/>
            <a:ext cx="10452100" cy="388800"/>
          </a:xfrm>
        </p:spPr>
        <p:txBody>
          <a:bodyPr vert="horz" lIns="0" tIns="0" rIns="0" bIns="0" rtlCol="0"/>
          <a:lstStyle>
            <a:lvl1pPr>
              <a:lnSpc>
                <a:spcPct val="89000"/>
              </a:lnSpc>
              <a:buNone/>
              <a:defRPr sz="2800" kern="0" baseline="0">
                <a:solidFill>
                  <a:schemeClr val="accent1"/>
                </a:solidFill>
              </a:defRPr>
            </a:lvl1pPr>
          </a:lstStyle>
          <a:p>
            <a:pPr marL="0" lvl="0" indent="0">
              <a:spcBef>
                <a:spcPts val="0"/>
              </a:spcBef>
              <a:buFont typeface="Wingdings 3" panose="05040102010807070707" pitchFamily="18" charset="2"/>
            </a:pPr>
            <a:r>
              <a:rPr lang="en-US" noProof="1"/>
              <a:t>Add Chapter Title</a:t>
            </a:r>
          </a:p>
        </p:txBody>
      </p:sp>
      <p:sp>
        <p:nvSpPr>
          <p:cNvPr id="19" name="slide_title">
            <a:extLst>
              <a:ext uri="{FF2B5EF4-FFF2-40B4-BE49-F238E27FC236}">
                <a16:creationId xmlns:a16="http://schemas.microsoft.com/office/drawing/2014/main" id="{DF7F8884-B1F7-469D-8614-E93F2AA1E3DD}"/>
              </a:ext>
            </a:extLst>
          </p:cNvPr>
          <p:cNvSpPr>
            <a:spLocks noGrp="1"/>
          </p:cNvSpPr>
          <p:nvPr>
            <p:ph type="title" sz="quarter" hasCustomPrompt="1"/>
          </p:nvPr>
        </p:nvSpPr>
        <p:spPr>
          <a:xfrm>
            <a:off x="259080" y="648000"/>
            <a:ext cx="10452100" cy="3888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080" y="1295399"/>
            <a:ext cx="251587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5549900" y="1295399"/>
            <a:ext cx="251587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904490" y="1295400"/>
            <a:ext cx="251587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4" hasCustomPrompt="1"/>
          </p:nvPr>
        </p:nvSpPr>
        <p:spPr>
          <a:xfrm>
            <a:off x="8195310" y="1295400"/>
            <a:ext cx="251587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  <a:prstGeom prst="rect">
            <a:avLst/>
          </a:prstGeom>
        </p:spPr>
        <p:txBody>
          <a:bodyPr/>
          <a:lstStyle>
            <a:lvl1pPr>
              <a:defRPr kern="0" baseline="0">
                <a:solidFill>
                  <a:schemeClr val="accent3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31" name="Grafik 3" descr="bottom_d2_169.png">
            <a:extLst>
              <a:ext uri="{FF2B5EF4-FFF2-40B4-BE49-F238E27FC236}">
                <a16:creationId xmlns:a16="http://schemas.microsoft.com/office/drawing/2014/main" id="{A3C6D0D9-04AD-43FA-8B6F-53255648BE83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22670"/>
            <a:ext cx="10970260" cy="5715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2" name="Grafik 31" descr="logo2_d2.png">
            <a:extLst>
              <a:ext uri="{FF2B5EF4-FFF2-40B4-BE49-F238E27FC236}">
                <a16:creationId xmlns:a16="http://schemas.microsoft.com/office/drawing/2014/main" id="{A5FC486E-34C4-4DFC-9640-0742E0B83B94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41" cy="648000"/>
          </a:xfrm>
          <a:prstGeom prst="rect">
            <a:avLst/>
          </a:prstGeom>
        </p:spPr>
      </p:pic>
      <p:sp>
        <p:nvSpPr>
          <p:cNvPr id="14" name="Rectangle7">
            <a:extLst>
              <a:ext uri="{FF2B5EF4-FFF2-40B4-BE49-F238E27FC236}">
                <a16:creationId xmlns:a16="http://schemas.microsoft.com/office/drawing/2014/main" id="{3A9A741C-7644-4810-ABAF-465822FC0D76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7" name="Grafik 4" descr="logo1_d2.png">
            <a:extLst>
              <a:ext uri="{FF2B5EF4-FFF2-40B4-BE49-F238E27FC236}">
                <a16:creationId xmlns:a16="http://schemas.microsoft.com/office/drawing/2014/main" id="{2F5D5F7F-9AC3-4C8C-9378-5DCB41FEB94B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1210" y="5571490"/>
            <a:ext cx="1046480" cy="44323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0FFFC29A-6EA6-4C62-AC7F-260C8DA0FB9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7543" y="647699"/>
            <a:ext cx="1156918" cy="401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289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163">
          <p15:clr>
            <a:srgbClr val="FBAE40"/>
          </p15:clr>
        </p15:guide>
        <p15:guide id="1" pos="6747">
          <p15:clr>
            <a:srgbClr val="FBAE40"/>
          </p15:clr>
        </p15:guide>
        <p15:guide id="5" pos="1748">
          <p15:clr>
            <a:srgbClr val="FBAE40"/>
          </p15:clr>
        </p15:guide>
        <p15:guide id="6" pos="3496">
          <p15:clr>
            <a:srgbClr val="FBAE40"/>
          </p15:clr>
        </p15:guide>
        <p15:guide id="7" pos="5080">
          <p15:clr>
            <a:srgbClr val="FBAE40"/>
          </p15:clr>
        </p15:guide>
        <p15:guide id="8" pos="1829">
          <p15:clr>
            <a:srgbClr val="FBAE40"/>
          </p15:clr>
        </p15:guide>
        <p15:guide id="9" pos="3414">
          <p15:clr>
            <a:srgbClr val="FBAE40"/>
          </p15:clr>
        </p15:guide>
        <p15:guide id="10" pos="5162">
          <p15:clr>
            <a:srgbClr val="FBAE40"/>
          </p15:clr>
        </p15:guide>
        <p15:guide id="11" orient="horz" pos="408">
          <p15:clr>
            <a:srgbClr val="FBAE40"/>
          </p15:clr>
        </p15:guide>
        <p15:guide id="14" orient="horz" pos="163">
          <p15:clr>
            <a:srgbClr val="FBAE40"/>
          </p15:clr>
        </p15:guide>
        <p15:guide id="15" orient="horz" pos="653">
          <p15:clr>
            <a:srgbClr val="FBAE40"/>
          </p15:clr>
        </p15:guide>
        <p15:guide id="17" orient="horz" pos="3441">
          <p15:clr>
            <a:srgbClr val="FBAE40"/>
          </p15:clr>
        </p15:guide>
        <p15:guide id="18" orient="horz" pos="816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 horizontal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pter_titleonly">
            <a:extLst>
              <a:ext uri="{FF2B5EF4-FFF2-40B4-BE49-F238E27FC236}">
                <a16:creationId xmlns:a16="http://schemas.microsoft.com/office/drawing/2014/main" id="{E455553B-0F79-436E-85C6-4C85581AEF85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259080" y="259200"/>
            <a:ext cx="10452100" cy="388800"/>
          </a:xfrm>
        </p:spPr>
        <p:txBody>
          <a:bodyPr vert="horz" lIns="0" tIns="0" rIns="0" bIns="0" rtlCol="0"/>
          <a:lstStyle>
            <a:lvl1pPr>
              <a:lnSpc>
                <a:spcPct val="89000"/>
              </a:lnSpc>
              <a:buNone/>
              <a:defRPr sz="2800" kern="0" baseline="0">
                <a:solidFill>
                  <a:schemeClr val="accent1"/>
                </a:solidFill>
              </a:defRPr>
            </a:lvl1pPr>
          </a:lstStyle>
          <a:p>
            <a:pPr marL="0" lvl="0" indent="0">
              <a:spcBef>
                <a:spcPts val="0"/>
              </a:spcBef>
              <a:buFont typeface="Wingdings 3" panose="05040102010807070707" pitchFamily="18" charset="2"/>
            </a:pPr>
            <a:r>
              <a:rPr lang="en-US" noProof="1"/>
              <a:t>Add Chapter Title</a:t>
            </a:r>
          </a:p>
        </p:txBody>
      </p:sp>
      <p:sp>
        <p:nvSpPr>
          <p:cNvPr id="17" name="slide_title">
            <a:extLst>
              <a:ext uri="{FF2B5EF4-FFF2-40B4-BE49-F238E27FC236}">
                <a16:creationId xmlns:a16="http://schemas.microsoft.com/office/drawing/2014/main" id="{9F6D022B-DEE5-4AD2-8799-00321036FE87}"/>
              </a:ext>
            </a:extLst>
          </p:cNvPr>
          <p:cNvSpPr>
            <a:spLocks noGrp="1"/>
          </p:cNvSpPr>
          <p:nvPr>
            <p:ph type="title" sz="quarter" hasCustomPrompt="1"/>
          </p:nvPr>
        </p:nvSpPr>
        <p:spPr>
          <a:xfrm>
            <a:off x="259080" y="648000"/>
            <a:ext cx="10452100" cy="3888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080" y="1295400"/>
            <a:ext cx="10452100" cy="20193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59080" y="3444240"/>
            <a:ext cx="10452100" cy="20193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  <a:prstGeom prst="rect">
            <a:avLst/>
          </a:prstGeom>
        </p:spPr>
        <p:txBody>
          <a:bodyPr/>
          <a:lstStyle>
            <a:lvl1pPr>
              <a:defRPr kern="0" baseline="0">
                <a:solidFill>
                  <a:schemeClr val="accent3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29" name="Grafik 3" descr="bottom_d2_169.png">
            <a:extLst>
              <a:ext uri="{FF2B5EF4-FFF2-40B4-BE49-F238E27FC236}">
                <a16:creationId xmlns:a16="http://schemas.microsoft.com/office/drawing/2014/main" id="{E1C644A7-78AF-407E-A25C-6F76F012AC1D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22670"/>
            <a:ext cx="10970260" cy="5715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0" name="Grafik 29" descr="logo2_d2.png">
            <a:extLst>
              <a:ext uri="{FF2B5EF4-FFF2-40B4-BE49-F238E27FC236}">
                <a16:creationId xmlns:a16="http://schemas.microsoft.com/office/drawing/2014/main" id="{BF432EB7-B56F-491D-9D42-9FA89D925A5A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41" cy="648000"/>
          </a:xfrm>
          <a:prstGeom prst="rect">
            <a:avLst/>
          </a:prstGeom>
        </p:spPr>
      </p:pic>
      <p:sp>
        <p:nvSpPr>
          <p:cNvPr id="12" name="Rectangle7">
            <a:extLst>
              <a:ext uri="{FF2B5EF4-FFF2-40B4-BE49-F238E27FC236}">
                <a16:creationId xmlns:a16="http://schemas.microsoft.com/office/drawing/2014/main" id="{2E7C0809-54C2-4B00-97B9-AEB55C54DF36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4" name="Grafik 4" descr="logo1_d2.png">
            <a:extLst>
              <a:ext uri="{FF2B5EF4-FFF2-40B4-BE49-F238E27FC236}">
                <a16:creationId xmlns:a16="http://schemas.microsoft.com/office/drawing/2014/main" id="{F944409F-1D53-436E-A382-254727DA7F5F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1210" y="5571490"/>
            <a:ext cx="1046480" cy="44323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D4CDD320-976E-4109-BC4A-2B3E3494AEE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7543" y="647699"/>
            <a:ext cx="1156918" cy="401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8791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163">
          <p15:clr>
            <a:srgbClr val="FBAE40"/>
          </p15:clr>
        </p15:guide>
        <p15:guide id="1" pos="6747">
          <p15:clr>
            <a:srgbClr val="FBAE40"/>
          </p15:clr>
        </p15:guide>
        <p15:guide id="10" orient="horz" pos="163">
          <p15:clr>
            <a:srgbClr val="FBAE40"/>
          </p15:clr>
        </p15:guide>
        <p15:guide id="11" orient="horz" pos="408">
          <p15:clr>
            <a:srgbClr val="FBAE40"/>
          </p15:clr>
        </p15:guide>
        <p15:guide id="14" orient="horz" pos="816">
          <p15:clr>
            <a:srgbClr val="FBAE40"/>
          </p15:clr>
        </p15:guide>
        <p15:guide id="15" orient="horz" pos="2088">
          <p15:clr>
            <a:srgbClr val="FBAE40"/>
          </p15:clr>
        </p15:guide>
        <p15:guide id="16" orient="horz" pos="2169">
          <p15:clr>
            <a:srgbClr val="FBAE40"/>
          </p15:clr>
        </p15:guide>
        <p15:guide id="17" orient="horz" pos="3441">
          <p15:clr>
            <a:srgbClr val="FBAE40"/>
          </p15:clr>
        </p15:guide>
        <p15:guide id="19" orient="horz" pos="652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 x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hapter_titleonly">
            <a:extLst>
              <a:ext uri="{FF2B5EF4-FFF2-40B4-BE49-F238E27FC236}">
                <a16:creationId xmlns:a16="http://schemas.microsoft.com/office/drawing/2014/main" id="{DC7176F2-9C78-4255-AD29-02B1373FAA11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259080" y="259200"/>
            <a:ext cx="10452100" cy="388800"/>
          </a:xfrm>
        </p:spPr>
        <p:txBody>
          <a:bodyPr vert="horz" lIns="0" tIns="0" rIns="0" bIns="0" rtlCol="0"/>
          <a:lstStyle>
            <a:lvl1pPr>
              <a:lnSpc>
                <a:spcPct val="89000"/>
              </a:lnSpc>
              <a:buNone/>
              <a:defRPr sz="2800" kern="0" baseline="0">
                <a:solidFill>
                  <a:schemeClr val="accent1"/>
                </a:solidFill>
              </a:defRPr>
            </a:lvl1pPr>
          </a:lstStyle>
          <a:p>
            <a:pPr marL="0" lvl="0" indent="0">
              <a:spcBef>
                <a:spcPts val="0"/>
              </a:spcBef>
              <a:buFont typeface="Wingdings 3" panose="05040102010807070707" pitchFamily="18" charset="2"/>
            </a:pPr>
            <a:r>
              <a:rPr lang="en-US" noProof="1"/>
              <a:t>Add Chapter Title</a:t>
            </a:r>
          </a:p>
        </p:txBody>
      </p:sp>
      <p:sp>
        <p:nvSpPr>
          <p:cNvPr id="19" name="slide_title">
            <a:extLst>
              <a:ext uri="{FF2B5EF4-FFF2-40B4-BE49-F238E27FC236}">
                <a16:creationId xmlns:a16="http://schemas.microsoft.com/office/drawing/2014/main" id="{0CD4A6A4-B685-4664-A9F2-206AFF03DCDC}"/>
              </a:ext>
            </a:extLst>
          </p:cNvPr>
          <p:cNvSpPr>
            <a:spLocks noGrp="1"/>
          </p:cNvSpPr>
          <p:nvPr>
            <p:ph type="title" sz="quarter" hasCustomPrompt="1"/>
          </p:nvPr>
        </p:nvSpPr>
        <p:spPr>
          <a:xfrm>
            <a:off x="259080" y="648000"/>
            <a:ext cx="10452100" cy="3888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080" y="1295400"/>
            <a:ext cx="4859020" cy="20193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5852160" y="1295400"/>
            <a:ext cx="4859020" cy="20193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59080" y="3444239"/>
            <a:ext cx="4859020" cy="20193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4" hasCustomPrompt="1"/>
          </p:nvPr>
        </p:nvSpPr>
        <p:spPr>
          <a:xfrm>
            <a:off x="5852160" y="3444239"/>
            <a:ext cx="4859020" cy="20193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  <a:prstGeom prst="rect">
            <a:avLst/>
          </a:prstGeom>
        </p:spPr>
        <p:txBody>
          <a:bodyPr/>
          <a:lstStyle>
            <a:lvl1pPr>
              <a:defRPr kern="0" baseline="0">
                <a:solidFill>
                  <a:schemeClr val="accent3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31" name="Grafik 3" descr="bottom_d2_169.png">
            <a:extLst>
              <a:ext uri="{FF2B5EF4-FFF2-40B4-BE49-F238E27FC236}">
                <a16:creationId xmlns:a16="http://schemas.microsoft.com/office/drawing/2014/main" id="{14946AFE-2563-4C40-963E-DFE36F6D3171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22670"/>
            <a:ext cx="10970260" cy="5715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2" name="Grafik 31" descr="logo2_d2.png">
            <a:extLst>
              <a:ext uri="{FF2B5EF4-FFF2-40B4-BE49-F238E27FC236}">
                <a16:creationId xmlns:a16="http://schemas.microsoft.com/office/drawing/2014/main" id="{8A247A46-B0BA-49FE-BDE2-4F90A7348546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41" cy="648000"/>
          </a:xfrm>
          <a:prstGeom prst="rect">
            <a:avLst/>
          </a:prstGeom>
        </p:spPr>
      </p:pic>
      <p:sp>
        <p:nvSpPr>
          <p:cNvPr id="14" name="Rectangle7">
            <a:extLst>
              <a:ext uri="{FF2B5EF4-FFF2-40B4-BE49-F238E27FC236}">
                <a16:creationId xmlns:a16="http://schemas.microsoft.com/office/drawing/2014/main" id="{43F0E5D0-784C-433E-AAB0-40D43C1BCBAB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6" name="Grafik 4" descr="logo1_d2.png">
            <a:extLst>
              <a:ext uri="{FF2B5EF4-FFF2-40B4-BE49-F238E27FC236}">
                <a16:creationId xmlns:a16="http://schemas.microsoft.com/office/drawing/2014/main" id="{17992435-2281-4D69-8E9C-A9BD8CD4504F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1210" y="5571490"/>
            <a:ext cx="1046480" cy="44323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6B406E8F-70CF-42CF-9075-ED2C075D091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7543" y="647699"/>
            <a:ext cx="1156918" cy="401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4143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163">
          <p15:clr>
            <a:srgbClr val="FBAE40"/>
          </p15:clr>
        </p15:guide>
        <p15:guide id="1" pos="6747">
          <p15:clr>
            <a:srgbClr val="FBAE40"/>
          </p15:clr>
        </p15:guide>
        <p15:guide id="5" pos="3224">
          <p15:clr>
            <a:srgbClr val="FBAE40"/>
          </p15:clr>
        </p15:guide>
        <p15:guide id="6" pos="3686">
          <p15:clr>
            <a:srgbClr val="FBAE40"/>
          </p15:clr>
        </p15:guide>
        <p15:guide id="10" orient="horz" pos="163">
          <p15:clr>
            <a:srgbClr val="FBAE40"/>
          </p15:clr>
        </p15:guide>
        <p15:guide id="11" orient="horz" pos="408">
          <p15:clr>
            <a:srgbClr val="FBAE40"/>
          </p15:clr>
        </p15:guide>
        <p15:guide id="14" orient="horz" pos="653">
          <p15:clr>
            <a:srgbClr val="FBAE40"/>
          </p15:clr>
        </p15:guide>
        <p15:guide id="15" orient="horz" pos="816">
          <p15:clr>
            <a:srgbClr val="FBAE40"/>
          </p15:clr>
        </p15:guide>
        <p15:guide id="16" orient="horz" pos="2088">
          <p15:clr>
            <a:srgbClr val="FBAE40"/>
          </p15:clr>
        </p15:guide>
        <p15:guide id="18" orient="horz" pos="2169">
          <p15:clr>
            <a:srgbClr val="FBAE40"/>
          </p15:clr>
        </p15:guide>
        <p15:guide id="19" orient="horz" pos="344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3 x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pter_titleonly">
            <a:extLst>
              <a:ext uri="{FF2B5EF4-FFF2-40B4-BE49-F238E27FC236}">
                <a16:creationId xmlns:a16="http://schemas.microsoft.com/office/drawing/2014/main" id="{C64C8B7C-E009-4AAC-9E32-6AD78580074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259080" y="259200"/>
            <a:ext cx="10452100" cy="388800"/>
          </a:xfrm>
        </p:spPr>
        <p:txBody>
          <a:bodyPr vert="horz" lIns="0" tIns="0" rIns="0" bIns="0" rtlCol="0"/>
          <a:lstStyle>
            <a:lvl1pPr>
              <a:lnSpc>
                <a:spcPct val="89000"/>
              </a:lnSpc>
              <a:buNone/>
              <a:defRPr sz="2800" kern="0" baseline="0">
                <a:solidFill>
                  <a:schemeClr val="accent1"/>
                </a:solidFill>
              </a:defRPr>
            </a:lvl1pPr>
          </a:lstStyle>
          <a:p>
            <a:pPr marL="0" lvl="0" indent="0">
              <a:spcBef>
                <a:spcPts val="0"/>
              </a:spcBef>
              <a:buFont typeface="Wingdings 3" panose="05040102010807070707" pitchFamily="18" charset="2"/>
            </a:pPr>
            <a:r>
              <a:rPr lang="en-US" noProof="1"/>
              <a:t>Add Chapter Title</a:t>
            </a:r>
          </a:p>
        </p:txBody>
      </p:sp>
      <p:sp>
        <p:nvSpPr>
          <p:cNvPr id="21" name="slide_title">
            <a:extLst>
              <a:ext uri="{FF2B5EF4-FFF2-40B4-BE49-F238E27FC236}">
                <a16:creationId xmlns:a16="http://schemas.microsoft.com/office/drawing/2014/main" id="{37C7D613-AF63-4D59-A3E7-00A3988669EF}"/>
              </a:ext>
            </a:extLst>
          </p:cNvPr>
          <p:cNvSpPr>
            <a:spLocks noGrp="1"/>
          </p:cNvSpPr>
          <p:nvPr>
            <p:ph type="title" sz="quarter" hasCustomPrompt="1"/>
          </p:nvPr>
        </p:nvSpPr>
        <p:spPr>
          <a:xfrm>
            <a:off x="259080" y="648000"/>
            <a:ext cx="10452100" cy="3888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080" y="1295399"/>
            <a:ext cx="3129280" cy="20193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3910330" y="1295400"/>
            <a:ext cx="3129280" cy="20193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5" hasCustomPrompt="1"/>
          </p:nvPr>
        </p:nvSpPr>
        <p:spPr>
          <a:xfrm>
            <a:off x="7561580" y="1295400"/>
            <a:ext cx="3129280" cy="20193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59080" y="3444240"/>
            <a:ext cx="3129280" cy="20193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4" hasCustomPrompt="1"/>
          </p:nvPr>
        </p:nvSpPr>
        <p:spPr>
          <a:xfrm>
            <a:off x="3910330" y="3444240"/>
            <a:ext cx="3129280" cy="20193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6" hasCustomPrompt="1"/>
          </p:nvPr>
        </p:nvSpPr>
        <p:spPr>
          <a:xfrm>
            <a:off x="7561580" y="3444240"/>
            <a:ext cx="3129280" cy="20193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  <a:prstGeom prst="rect">
            <a:avLst/>
          </a:prstGeom>
        </p:spPr>
        <p:txBody>
          <a:bodyPr/>
          <a:lstStyle>
            <a:lvl1pPr>
              <a:defRPr kern="0" baseline="0">
                <a:solidFill>
                  <a:schemeClr val="accent3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33" name="Grafik 3" descr="bottom_d2_169.png">
            <a:extLst>
              <a:ext uri="{FF2B5EF4-FFF2-40B4-BE49-F238E27FC236}">
                <a16:creationId xmlns:a16="http://schemas.microsoft.com/office/drawing/2014/main" id="{D68326DC-5F3B-4205-8352-8D213F6B12F1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22670"/>
            <a:ext cx="10970260" cy="5715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4" name="Grafik 33" descr="logo2_d2.png">
            <a:extLst>
              <a:ext uri="{FF2B5EF4-FFF2-40B4-BE49-F238E27FC236}">
                <a16:creationId xmlns:a16="http://schemas.microsoft.com/office/drawing/2014/main" id="{6306B871-7048-4385-84D6-368540647FAF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41" cy="648000"/>
          </a:xfrm>
          <a:prstGeom prst="rect">
            <a:avLst/>
          </a:prstGeom>
        </p:spPr>
      </p:pic>
      <p:sp>
        <p:nvSpPr>
          <p:cNvPr id="16" name="Rectangle7">
            <a:extLst>
              <a:ext uri="{FF2B5EF4-FFF2-40B4-BE49-F238E27FC236}">
                <a16:creationId xmlns:a16="http://schemas.microsoft.com/office/drawing/2014/main" id="{C680F8C7-4715-4E6C-829A-E87F16C03BB3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8" name="Grafik 4" descr="logo1_d2.png">
            <a:extLst>
              <a:ext uri="{FF2B5EF4-FFF2-40B4-BE49-F238E27FC236}">
                <a16:creationId xmlns:a16="http://schemas.microsoft.com/office/drawing/2014/main" id="{058025F0-4E5A-4419-90FC-FD31DB24C306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1210" y="5571490"/>
            <a:ext cx="1046480" cy="44323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B1F2A9BA-DF73-4759-A6EF-AC038867CA9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7543" y="647699"/>
            <a:ext cx="1156918" cy="401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278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163">
          <p15:clr>
            <a:srgbClr val="FBAE40"/>
          </p15:clr>
        </p15:guide>
        <p15:guide id="1" pos="6736">
          <p15:clr>
            <a:srgbClr val="FBAE40"/>
          </p15:clr>
        </p15:guide>
        <p15:guide id="5" pos="2134">
          <p15:clr>
            <a:srgbClr val="FBAE40"/>
          </p15:clr>
        </p15:guide>
        <p15:guide id="6" pos="2463">
          <p15:clr>
            <a:srgbClr val="FBAE40"/>
          </p15:clr>
        </p15:guide>
        <p15:guide id="7" pos="4434">
          <p15:clr>
            <a:srgbClr val="FBAE40"/>
          </p15:clr>
        </p15:guide>
        <p15:guide id="8" pos="4763">
          <p15:clr>
            <a:srgbClr val="FBAE40"/>
          </p15:clr>
        </p15:guide>
        <p15:guide id="10" orient="horz" pos="163">
          <p15:clr>
            <a:srgbClr val="FBAE40"/>
          </p15:clr>
        </p15:guide>
        <p15:guide id="11" orient="horz" pos="408">
          <p15:clr>
            <a:srgbClr val="FBAE40"/>
          </p15:clr>
        </p15:guide>
        <p15:guide id="15" orient="horz" pos="2087">
          <p15:clr>
            <a:srgbClr val="FBAE40"/>
          </p15:clr>
        </p15:guide>
        <p15:guide id="18" orient="horz" pos="816">
          <p15:clr>
            <a:srgbClr val="FBAE40"/>
          </p15:clr>
        </p15:guide>
        <p15:guide id="19" orient="horz" pos="2088">
          <p15:clr>
            <a:srgbClr val="FBAE40"/>
          </p15:clr>
        </p15:guide>
        <p15:guide id="20" orient="horz" pos="2169">
          <p15:clr>
            <a:srgbClr val="FBAE40"/>
          </p15:clr>
        </p15:guide>
        <p15:guide id="21" orient="horz" pos="3441">
          <p15:clr>
            <a:srgbClr val="FBAE40"/>
          </p15:clr>
        </p15:guide>
        <p15:guide id="27" orient="horz" pos="65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4 x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pter_titleonly">
            <a:extLst>
              <a:ext uri="{FF2B5EF4-FFF2-40B4-BE49-F238E27FC236}">
                <a16:creationId xmlns:a16="http://schemas.microsoft.com/office/drawing/2014/main" id="{41EC37FB-F012-4E88-8202-EAF2290CF26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259080" y="259200"/>
            <a:ext cx="10452100" cy="388800"/>
          </a:xfrm>
        </p:spPr>
        <p:txBody>
          <a:bodyPr vert="horz" lIns="0" tIns="0" rIns="0" bIns="0" rtlCol="0"/>
          <a:lstStyle>
            <a:lvl1pPr>
              <a:lnSpc>
                <a:spcPct val="89000"/>
              </a:lnSpc>
              <a:buNone/>
              <a:defRPr sz="2800" kern="0" baseline="0">
                <a:solidFill>
                  <a:schemeClr val="accent1"/>
                </a:solidFill>
              </a:defRPr>
            </a:lvl1pPr>
          </a:lstStyle>
          <a:p>
            <a:pPr marL="0" lvl="0" indent="0">
              <a:spcBef>
                <a:spcPts val="0"/>
              </a:spcBef>
              <a:buFont typeface="Wingdings 3" panose="05040102010807070707" pitchFamily="18" charset="2"/>
            </a:pPr>
            <a:r>
              <a:rPr lang="en-US" noProof="1"/>
              <a:t>Add Chapter Title</a:t>
            </a:r>
          </a:p>
        </p:txBody>
      </p:sp>
      <p:sp>
        <p:nvSpPr>
          <p:cNvPr id="24" name="slide_title">
            <a:extLst>
              <a:ext uri="{FF2B5EF4-FFF2-40B4-BE49-F238E27FC236}">
                <a16:creationId xmlns:a16="http://schemas.microsoft.com/office/drawing/2014/main" id="{311701A3-045D-4465-A625-85AD8C2B322E}"/>
              </a:ext>
            </a:extLst>
          </p:cNvPr>
          <p:cNvSpPr>
            <a:spLocks noGrp="1"/>
          </p:cNvSpPr>
          <p:nvPr>
            <p:ph type="title" sz="quarter" hasCustomPrompt="1"/>
          </p:nvPr>
        </p:nvSpPr>
        <p:spPr>
          <a:xfrm>
            <a:off x="259080" y="648000"/>
            <a:ext cx="10452100" cy="3888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080" y="1295399"/>
            <a:ext cx="2515870" cy="20193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2904490" y="1295400"/>
            <a:ext cx="2515870" cy="20193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7" hasCustomPrompt="1"/>
          </p:nvPr>
        </p:nvSpPr>
        <p:spPr>
          <a:xfrm>
            <a:off x="8195310" y="1295400"/>
            <a:ext cx="2515870" cy="20193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59080" y="3444240"/>
            <a:ext cx="2515870" cy="20193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4" hasCustomPrompt="1"/>
          </p:nvPr>
        </p:nvSpPr>
        <p:spPr>
          <a:xfrm>
            <a:off x="2904490" y="3444240"/>
            <a:ext cx="2515870" cy="20193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8" hasCustomPrompt="1"/>
          </p:nvPr>
        </p:nvSpPr>
        <p:spPr>
          <a:xfrm>
            <a:off x="8195310" y="3444240"/>
            <a:ext cx="2515870" cy="20193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  <a:prstGeom prst="rect">
            <a:avLst/>
          </a:prstGeom>
        </p:spPr>
        <p:txBody>
          <a:bodyPr/>
          <a:lstStyle>
            <a:lvl1pPr>
              <a:defRPr kern="0" baseline="0">
                <a:solidFill>
                  <a:schemeClr val="accent3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33" name="Grafik 3" descr="bottom_d2_169.png">
            <a:extLst>
              <a:ext uri="{FF2B5EF4-FFF2-40B4-BE49-F238E27FC236}">
                <a16:creationId xmlns:a16="http://schemas.microsoft.com/office/drawing/2014/main" id="{D68326DC-5F3B-4205-8352-8D213F6B12F1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22670"/>
            <a:ext cx="10970260" cy="5715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4" name="Grafik 33" descr="logo2_d2.png">
            <a:extLst>
              <a:ext uri="{FF2B5EF4-FFF2-40B4-BE49-F238E27FC236}">
                <a16:creationId xmlns:a16="http://schemas.microsoft.com/office/drawing/2014/main" id="{6306B871-7048-4385-84D6-368540647FAF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41" cy="648000"/>
          </a:xfrm>
          <a:prstGeom prst="rect">
            <a:avLst/>
          </a:prstGeom>
        </p:spPr>
      </p:pic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468F8D-277D-4F1A-84A1-62122010643F}"/>
              </a:ext>
            </a:extLst>
          </p:cNvPr>
          <p:cNvSpPr>
            <a:spLocks noGrp="1"/>
          </p:cNvSpPr>
          <p:nvPr>
            <p:ph sz="half" idx="5" hasCustomPrompt="1"/>
          </p:nvPr>
        </p:nvSpPr>
        <p:spPr>
          <a:xfrm>
            <a:off x="5549900" y="1295399"/>
            <a:ext cx="2515870" cy="20193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B143799E-2832-49D7-9953-45BACACA7549}"/>
              </a:ext>
            </a:extLst>
          </p:cNvPr>
          <p:cNvSpPr>
            <a:spLocks noGrp="1"/>
          </p:cNvSpPr>
          <p:nvPr>
            <p:ph sz="half" idx="6" hasCustomPrompt="1"/>
          </p:nvPr>
        </p:nvSpPr>
        <p:spPr>
          <a:xfrm>
            <a:off x="5549900" y="3444240"/>
            <a:ext cx="2515870" cy="20193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21" name="Rectangle7">
            <a:extLst>
              <a:ext uri="{FF2B5EF4-FFF2-40B4-BE49-F238E27FC236}">
                <a16:creationId xmlns:a16="http://schemas.microsoft.com/office/drawing/2014/main" id="{60F530EA-2EFB-4DC6-BA26-465D18FD265B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22" name="Grafik 4" descr="logo1_d2.png">
            <a:extLst>
              <a:ext uri="{FF2B5EF4-FFF2-40B4-BE49-F238E27FC236}">
                <a16:creationId xmlns:a16="http://schemas.microsoft.com/office/drawing/2014/main" id="{F7F706B3-07D4-410C-B7A6-C9E5735A9928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1210" y="5571490"/>
            <a:ext cx="1046480" cy="44323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7F9DC93D-F062-4454-BD69-357FF974C9D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7543" y="647699"/>
            <a:ext cx="1156918" cy="401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294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162">
          <p15:clr>
            <a:srgbClr val="FBAE40"/>
          </p15:clr>
        </p15:guide>
        <p15:guide id="1" pos="6744">
          <p15:clr>
            <a:srgbClr val="FBAE40"/>
          </p15:clr>
        </p15:guide>
        <p15:guide id="5" pos="1748">
          <p15:clr>
            <a:srgbClr val="FBAE40"/>
          </p15:clr>
        </p15:guide>
        <p15:guide id="6" pos="1829">
          <p15:clr>
            <a:srgbClr val="FBAE40"/>
          </p15:clr>
        </p15:guide>
        <p15:guide id="7" pos="3414">
          <p15:clr>
            <a:srgbClr val="FBAE40"/>
          </p15:clr>
        </p15:guide>
        <p15:guide id="8" pos="5162">
          <p15:clr>
            <a:srgbClr val="FBAE40"/>
          </p15:clr>
        </p15:guide>
        <p15:guide id="10" orient="horz" pos="162">
          <p15:clr>
            <a:srgbClr val="FBAE40"/>
          </p15:clr>
        </p15:guide>
        <p15:guide id="11" orient="horz" pos="408">
          <p15:clr>
            <a:srgbClr val="FBAE40"/>
          </p15:clr>
        </p15:guide>
        <p15:guide id="14" orient="horz" pos="813">
          <p15:clr>
            <a:srgbClr val="FBAE40"/>
          </p15:clr>
        </p15:guide>
        <p15:guide id="16" pos="3496">
          <p15:clr>
            <a:srgbClr val="FBAE40"/>
          </p15:clr>
        </p15:guide>
        <p15:guide id="17" pos="5080">
          <p15:clr>
            <a:srgbClr val="FBAE40"/>
          </p15:clr>
        </p15:guide>
        <p15:guide id="24" orient="horz" pos="2169">
          <p15:clr>
            <a:srgbClr val="FBAE40"/>
          </p15:clr>
        </p15:guide>
        <p15:guide id="25" orient="horz" pos="3441">
          <p15:clr>
            <a:srgbClr val="FBAE40"/>
          </p15:clr>
        </p15:guide>
        <p15:guide id="31" orient="horz" pos="652">
          <p15:clr>
            <a:srgbClr val="FBAE40"/>
          </p15:clr>
        </p15:guide>
        <p15:guide id="32" orient="horz" pos="2086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  <a:prstGeom prst="rect">
            <a:avLst/>
          </a:prstGeom>
        </p:spPr>
        <p:txBody>
          <a:bodyPr/>
          <a:lstStyle>
            <a:lvl1pPr>
              <a:defRPr kern="0" baseline="0">
                <a:solidFill>
                  <a:schemeClr val="accent3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9" name="Grafik 3" descr="bottom_d2_169.png">
            <a:extLst>
              <a:ext uri="{FF2B5EF4-FFF2-40B4-BE49-F238E27FC236}">
                <a16:creationId xmlns:a16="http://schemas.microsoft.com/office/drawing/2014/main" id="{EF316F00-ABDB-4F1C-8223-8689636D6D52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22670"/>
            <a:ext cx="10970260" cy="5715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10" name="Grafik 9" descr="logo2_d2.png">
            <a:extLst>
              <a:ext uri="{FF2B5EF4-FFF2-40B4-BE49-F238E27FC236}">
                <a16:creationId xmlns:a16="http://schemas.microsoft.com/office/drawing/2014/main" id="{30CBBFCD-8992-45AF-92BD-7EBF3A86E1C1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41" cy="648000"/>
          </a:xfrm>
          <a:prstGeom prst="rect">
            <a:avLst/>
          </a:prstGeom>
        </p:spPr>
      </p:pic>
      <p:sp>
        <p:nvSpPr>
          <p:cNvPr id="8" name="Rectangle7">
            <a:extLst>
              <a:ext uri="{FF2B5EF4-FFF2-40B4-BE49-F238E27FC236}">
                <a16:creationId xmlns:a16="http://schemas.microsoft.com/office/drawing/2014/main" id="{C868D9BE-A299-4D0B-87AF-B491FAE5FD28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1" name="Grafik 4" descr="logo1_d2.png">
            <a:extLst>
              <a:ext uri="{FF2B5EF4-FFF2-40B4-BE49-F238E27FC236}">
                <a16:creationId xmlns:a16="http://schemas.microsoft.com/office/drawing/2014/main" id="{0B4DD8A5-C16C-443A-8C22-A52B612231A5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1210" y="5571490"/>
            <a:ext cx="1046480" cy="443230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227545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11">
          <p15:clr>
            <a:srgbClr val="FBAE40"/>
          </p15:clr>
        </p15:guide>
        <p15:guide id="2" orient="horz" pos="3440">
          <p15:clr>
            <a:srgbClr val="FBAE40"/>
          </p15:clr>
        </p15:guide>
        <p15:guide id="3" pos="166">
          <p15:clr>
            <a:srgbClr val="FBAE40"/>
          </p15:clr>
        </p15:guide>
        <p15:guide id="4" pos="6744">
          <p15:clr>
            <a:srgbClr val="FBAE40"/>
          </p15:clr>
        </p15:guide>
        <p15:guide id="5" orient="horz" pos="16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Chapter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pter_title">
            <a:extLst>
              <a:ext uri="{FF2B5EF4-FFF2-40B4-BE49-F238E27FC236}">
                <a16:creationId xmlns:a16="http://schemas.microsoft.com/office/drawing/2014/main" id="{EE80FFE3-B9B2-433E-9111-10990FD419A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4800" cy="5205600"/>
          </a:xfrm>
          <a:ln w="0">
            <a:noFill/>
          </a:ln>
          <a:effectLst/>
        </p:spPr>
        <p:txBody>
          <a:bodyPr anchor="t" anchorCtr="0"/>
          <a:lstStyle>
            <a:lvl1pPr algn="l">
              <a:lnSpc>
                <a:spcPct val="90000"/>
              </a:lnSpc>
              <a:defRPr sz="65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1"/>
              <a:t>Add Chapter Title</a:t>
            </a:r>
          </a:p>
        </p:txBody>
      </p:sp>
      <p:pic>
        <p:nvPicPr>
          <p:cNvPr id="5" name="Grafik 4" descr="logo1_d2.png">
            <a:extLst>
              <a:ext uri="{FF2B5EF4-FFF2-40B4-BE49-F238E27FC236}">
                <a16:creationId xmlns:a16="http://schemas.microsoft.com/office/drawing/2014/main" id="{FC6E8050-6AB1-433E-A876-5E84688D10B0}"/>
              </a:ext>
            </a:extLst>
          </p:cNvPr>
          <p:cNvPicPr>
            <a:picLocks noSel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7" name="Grafik 3" descr="right_d2.png">
            <a:extLst>
              <a:ext uri="{FF2B5EF4-FFF2-40B4-BE49-F238E27FC236}">
                <a16:creationId xmlns:a16="http://schemas.microsoft.com/office/drawing/2014/main" id="{50EF21B3-288B-44C8-B2D9-3FFE25CF4E6C}"/>
              </a:ext>
            </a:extLst>
          </p:cNvPr>
          <p:cNvPicPr>
            <a:picLocks noSel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82880939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9200" y="259199"/>
            <a:ext cx="9874800" cy="5205600"/>
          </a:xfrm>
        </p:spPr>
        <p:txBody>
          <a:bodyPr anchor="ctr" anchorCtr="0"/>
          <a:lstStyle>
            <a:lvl1pPr>
              <a:lnSpc>
                <a:spcPct val="90000"/>
              </a:lnSpc>
              <a:defRPr sz="4000" i="1"/>
            </a:lvl1pPr>
          </a:lstStyle>
          <a:p>
            <a:r>
              <a:rPr lang="en-US" noProof="1"/>
              <a:t>“Add Quotation”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7" name="Grafik 3" descr="bottom_d2_169.png"/>
          <p:cNvPicPr>
            <a:picLocks noSel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90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11" name="Grafik 10" descr="logo2_d2.png">
            <a:extLst>
              <a:ext uri="{FF2B5EF4-FFF2-40B4-BE49-F238E27FC236}">
                <a16:creationId xmlns:a16="http://schemas.microsoft.com/office/drawing/2014/main" id="{77D5F5E1-4827-426B-99FE-8CE2E1270E26}"/>
              </a:ext>
            </a:extLst>
          </p:cNvPr>
          <p:cNvPicPr>
            <a:picLocks noSel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2" name="Rectangle7">
            <a:extLst>
              <a:ext uri="{FF2B5EF4-FFF2-40B4-BE49-F238E27FC236}">
                <a16:creationId xmlns:a16="http://schemas.microsoft.com/office/drawing/2014/main" id="{855EB1A0-FDAA-4D62-99AE-E08E3E26E93B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5" name="Grafik 4" descr="logo1_d2.png">
            <a:extLst>
              <a:ext uri="{FF2B5EF4-FFF2-40B4-BE49-F238E27FC236}">
                <a16:creationId xmlns:a16="http://schemas.microsoft.com/office/drawing/2014/main" id="{6E018BBC-5CA8-4135-B38C-8681A1586972}"/>
              </a:ext>
            </a:extLst>
          </p:cNvPr>
          <p:cNvPicPr>
            <a:picLocks noSel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0417785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9200" y="259199"/>
            <a:ext cx="9874800" cy="5205600"/>
          </a:xfrm>
        </p:spPr>
        <p:txBody>
          <a:bodyPr anchor="ctr" anchorCtr="0"/>
          <a:lstStyle>
            <a:lvl1pPr>
              <a:lnSpc>
                <a:spcPct val="90000"/>
              </a:lnSpc>
              <a:defRPr sz="4000" i="0"/>
            </a:lvl1pPr>
          </a:lstStyle>
          <a:p>
            <a:r>
              <a:rPr lang="en-US" noProof="1"/>
              <a:t>Add Conclus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7" name="Grafik 3" descr="bottom_d2_169.png"/>
          <p:cNvPicPr>
            <a:picLocks noSel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11" name="Grafik 10" descr="logo2_d2.png">
            <a:extLst>
              <a:ext uri="{FF2B5EF4-FFF2-40B4-BE49-F238E27FC236}">
                <a16:creationId xmlns:a16="http://schemas.microsoft.com/office/drawing/2014/main" id="{77D5F5E1-4827-426B-99FE-8CE2E1270E26}"/>
              </a:ext>
            </a:extLst>
          </p:cNvPr>
          <p:cNvPicPr>
            <a:picLocks noSel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0" name="Rectangle7">
            <a:extLst>
              <a:ext uri="{FF2B5EF4-FFF2-40B4-BE49-F238E27FC236}">
                <a16:creationId xmlns:a16="http://schemas.microsoft.com/office/drawing/2014/main" id="{72390B9F-3EB3-4FEE-B4B2-61FC80890073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4" name="Grafik 4" descr="logo1_d2.png">
            <a:extLst>
              <a:ext uri="{FF2B5EF4-FFF2-40B4-BE49-F238E27FC236}">
                <a16:creationId xmlns:a16="http://schemas.microsoft.com/office/drawing/2014/main" id="{30F7B7DF-6F0E-4921-B877-3E2AD7D8C29A}"/>
              </a:ext>
            </a:extLst>
          </p:cNvPr>
          <p:cNvPicPr>
            <a:picLocks noSel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532355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" hasCustomPrompt="1"/>
          </p:nvPr>
        </p:nvSpPr>
        <p:spPr>
          <a:xfrm>
            <a:off x="259200" y="1296000"/>
            <a:ext cx="10450800" cy="4168800"/>
          </a:xfrm>
        </p:spPr>
        <p:txBody>
          <a:bodyPr/>
          <a:lstStyle>
            <a:lvl1pPr marL="251982" indent="-251982">
              <a:lnSpc>
                <a:spcPct val="107000"/>
              </a:lnSpc>
              <a:buFont typeface="+mj-lt"/>
              <a:buAutoNum type="arabicPeriod"/>
              <a:defRPr/>
            </a:lvl1pPr>
            <a:lvl2pPr marL="507563" indent="-273580">
              <a:lnSpc>
                <a:spcPct val="103000"/>
              </a:lnSpc>
              <a:buFont typeface="+mj-lt"/>
              <a:buAutoNum type="arabicPeriod"/>
              <a:defRPr/>
            </a:lvl2pPr>
            <a:lvl3pPr marL="730746" indent="-205185">
              <a:lnSpc>
                <a:spcPct val="102000"/>
              </a:lnSpc>
              <a:buFont typeface="+mj-lt"/>
              <a:buAutoNum type="arabicPeriod"/>
              <a:defRPr/>
            </a:lvl3pPr>
            <a:lvl4pPr marL="932331" indent="-183586">
              <a:lnSpc>
                <a:spcPct val="107000"/>
              </a:lnSpc>
              <a:buFont typeface="+mj-lt"/>
              <a:buAutoNum type="arabicPeriod"/>
              <a:defRPr/>
            </a:lvl4pPr>
            <a:lvl5pPr marL="932331" indent="-183586">
              <a:lnSpc>
                <a:spcPct val="103000"/>
              </a:lnSpc>
              <a:buFont typeface="+mj-lt"/>
              <a:buAutoNum type="arabicPeriod"/>
              <a:defRPr/>
            </a:lvl5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Rectangle7" hidden="1"/>
          <p:cNvSpPr>
            <a:spLocks/>
          </p:cNvSpPr>
          <p:nvPr/>
        </p:nvSpPr>
        <p:spPr>
          <a:xfrm>
            <a:off x="9223200" y="259078"/>
            <a:ext cx="1692000" cy="777721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%attachmentremark% </a:t>
            </a:r>
          </a:p>
        </p:txBody>
      </p:sp>
      <p:pic>
        <p:nvPicPr>
          <p:cNvPr id="25" name="Grafik 3" descr="bottom_d2_169.png">
            <a:extLst>
              <a:ext uri="{FF2B5EF4-FFF2-40B4-BE49-F238E27FC236}">
                <a16:creationId xmlns:a16="http://schemas.microsoft.com/office/drawing/2014/main" id="{5924583E-7B93-41AC-AC5B-430C0AD45AC7}"/>
              </a:ext>
            </a:extLst>
          </p:cNvPr>
          <p:cNvPicPr>
            <a:picLocks noSel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90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3" name="Grafik 32" descr="logo2_d2.png">
            <a:extLst>
              <a:ext uri="{FF2B5EF4-FFF2-40B4-BE49-F238E27FC236}">
                <a16:creationId xmlns:a16="http://schemas.microsoft.com/office/drawing/2014/main" id="{48E231CC-E3B9-4D96-AA06-B1CFFA847D96}"/>
              </a:ext>
            </a:extLst>
          </p:cNvPr>
          <p:cNvPicPr>
            <a:picLocks noSel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3EC746CB-10AC-40C9-8647-79D1DEB9F93D}"/>
              </a:ext>
            </a:extLst>
          </p:cNvPr>
          <p:cNvSpPr txBox="1"/>
          <p:nvPr userDrawn="1"/>
        </p:nvSpPr>
        <p:spPr>
          <a:xfrm>
            <a:off x="259200" y="259200"/>
            <a:ext cx="10450800" cy="777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genda</a:t>
            </a:r>
          </a:p>
        </p:txBody>
      </p:sp>
      <p:sp>
        <p:nvSpPr>
          <p:cNvPr id="12" name="Rectangle7">
            <a:extLst>
              <a:ext uri="{FF2B5EF4-FFF2-40B4-BE49-F238E27FC236}">
                <a16:creationId xmlns:a16="http://schemas.microsoft.com/office/drawing/2014/main" id="{F0D59F04-5C89-4857-A44C-3D9D9D3D938E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3" name="Grafik 4" descr="logo1_d2.png">
            <a:extLst>
              <a:ext uri="{FF2B5EF4-FFF2-40B4-BE49-F238E27FC236}">
                <a16:creationId xmlns:a16="http://schemas.microsoft.com/office/drawing/2014/main" id="{39A24C14-69FA-48C5-9BFC-E264F89C2E76}"/>
              </a:ext>
            </a:extLst>
          </p:cNvPr>
          <p:cNvPicPr>
            <a:picLocks noSel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940310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4" name="Chapter_titleonly"/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28" name="Grafik 3" descr="bottom_d2_169.png">
            <a:extLst>
              <a:ext uri="{FF2B5EF4-FFF2-40B4-BE49-F238E27FC236}">
                <a16:creationId xmlns:a16="http://schemas.microsoft.com/office/drawing/2014/main" id="{EE92306B-89C4-4A4D-81C1-DE629B5A33A0}"/>
              </a:ext>
            </a:extLst>
          </p:cNvPr>
          <p:cNvPicPr>
            <a:picLocks noSel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5" name="Grafik 34" descr="logo2_d2.png">
            <a:extLst>
              <a:ext uri="{FF2B5EF4-FFF2-40B4-BE49-F238E27FC236}">
                <a16:creationId xmlns:a16="http://schemas.microsoft.com/office/drawing/2014/main" id="{4A0BB653-08E0-42FB-832C-B4ECC24A4E72}"/>
              </a:ext>
            </a:extLst>
          </p:cNvPr>
          <p:cNvPicPr>
            <a:picLocks noSel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0" name="Rectangle7">
            <a:extLst>
              <a:ext uri="{FF2B5EF4-FFF2-40B4-BE49-F238E27FC236}">
                <a16:creationId xmlns:a16="http://schemas.microsoft.com/office/drawing/2014/main" id="{8883D326-CEAD-4903-8269-B2D194C3C224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1" name="Grafik 4" descr="logo1_d2.png">
            <a:extLst>
              <a:ext uri="{FF2B5EF4-FFF2-40B4-BE49-F238E27FC236}">
                <a16:creationId xmlns:a16="http://schemas.microsoft.com/office/drawing/2014/main" id="{EA45B0BA-5E3B-4D0F-8BE3-B1AAA7A49623}"/>
              </a:ext>
            </a:extLst>
          </p:cNvPr>
          <p:cNvPicPr>
            <a:picLocks noSel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8222744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DE43D273-A15E-4B64-AFD2-1388D749B6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15" name="Chapter_titleonly">
            <a:extLst>
              <a:ext uri="{FF2B5EF4-FFF2-40B4-BE49-F238E27FC236}">
                <a16:creationId xmlns:a16="http://schemas.microsoft.com/office/drawing/2014/main" id="{5B281E01-A653-4813-BC65-8900B31D11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28" name="Grafik 3" descr="bottom_d2_169.png">
            <a:extLst>
              <a:ext uri="{FF2B5EF4-FFF2-40B4-BE49-F238E27FC236}">
                <a16:creationId xmlns:a16="http://schemas.microsoft.com/office/drawing/2014/main" id="{EE92306B-89C4-4A4D-81C1-DE629B5A33A0}"/>
              </a:ext>
            </a:extLst>
          </p:cNvPr>
          <p:cNvPicPr>
            <a:picLocks noSel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5" name="Grafik 34" descr="logo2_d2.png">
            <a:extLst>
              <a:ext uri="{FF2B5EF4-FFF2-40B4-BE49-F238E27FC236}">
                <a16:creationId xmlns:a16="http://schemas.microsoft.com/office/drawing/2014/main" id="{4A0BB653-08E0-42FB-832C-B4ECC24A4E72}"/>
              </a:ext>
            </a:extLst>
          </p:cNvPr>
          <p:cNvPicPr>
            <a:picLocks noSel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0" name="Rectangle7">
            <a:extLst>
              <a:ext uri="{FF2B5EF4-FFF2-40B4-BE49-F238E27FC236}">
                <a16:creationId xmlns:a16="http://schemas.microsoft.com/office/drawing/2014/main" id="{8883D326-CEAD-4903-8269-B2D194C3C224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1" name="Grafik 4" descr="logo1_d2.png">
            <a:extLst>
              <a:ext uri="{FF2B5EF4-FFF2-40B4-BE49-F238E27FC236}">
                <a16:creationId xmlns:a16="http://schemas.microsoft.com/office/drawing/2014/main" id="{EA45B0BA-5E3B-4D0F-8BE3-B1AAA7A49623}"/>
              </a:ext>
            </a:extLst>
          </p:cNvPr>
          <p:cNvPicPr>
            <a:picLocks noSel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D46C5CB-CB38-4AD2-99D2-34C738DF30C0}"/>
              </a:ext>
            </a:extLst>
          </p:cNvPr>
          <p:cNvSpPr>
            <a:spLocks noGrp="1"/>
          </p:cNvSpPr>
          <p:nvPr>
            <p:ph sz="quarter" idx="1" hasCustomPrompt="1"/>
          </p:nvPr>
        </p:nvSpPr>
        <p:spPr>
          <a:xfrm>
            <a:off x="258762" y="1296000"/>
            <a:ext cx="104508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897738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3.xml"/><Relationship Id="rId21" Type="http://schemas.openxmlformats.org/officeDocument/2006/relationships/image" Target="../media/image9.emf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00" y="648000"/>
            <a:ext cx="10450800" cy="388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1"/>
              <a:t>Mastertitel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9200" y="1296000"/>
            <a:ext cx="10450800" cy="4168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200">
                <a:solidFill>
                  <a:srgbClr val="999FA6"/>
                </a:solidFill>
                <a:latin typeface="+mn-lt"/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sp>
        <p:nvSpPr>
          <p:cNvPr id="5" name="Bosch_footer_1">
            <a:extLst>
              <a:ext uri="{FF2B5EF4-FFF2-40B4-BE49-F238E27FC236}">
                <a16:creationId xmlns:a16="http://schemas.microsoft.com/office/drawing/2014/main" id="{C4A0DCBC-1EFB-43C4-AF00-AB85781F48E7}"/>
              </a:ext>
            </a:extLst>
          </p:cNvPr>
          <p:cNvSpPr txBox="1"/>
          <p:nvPr userDrawn="1"/>
        </p:nvSpPr>
        <p:spPr>
          <a:xfrm>
            <a:off x="593090" y="5643880"/>
            <a:ext cx="9152890" cy="1079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</a:pPr>
            <a:r>
              <a:rPr kumimoji="0" lang="en-US" sz="600" b="1" i="0" u="none" strike="noStrike" kern="0" cap="none" spc="0" normalizeH="0" baseline="0" noProof="1">
                <a:ln>
                  <a:noFill/>
                </a:ln>
                <a:solidFill>
                  <a:srgbClr val="D70012"/>
                </a:solidFill>
                <a:effectLst/>
                <a:uLnTx/>
                <a:uFillTx/>
                <a:latin typeface="Bosch Office Sans" pitchFamily="2" charset="0"/>
              </a:rPr>
              <a:t>Internal</a:t>
            </a:r>
          </a:p>
        </p:txBody>
      </p:sp>
      <p:sp>
        <p:nvSpPr>
          <p:cNvPr id="8" name="Bosch_footer_2">
            <a:extLst>
              <a:ext uri="{FF2B5EF4-FFF2-40B4-BE49-F238E27FC236}">
                <a16:creationId xmlns:a16="http://schemas.microsoft.com/office/drawing/2014/main" id="{C3D77AD5-379C-4A86-AFCF-32945A0FEE26}"/>
              </a:ext>
            </a:extLst>
          </p:cNvPr>
          <p:cNvSpPr txBox="1"/>
          <p:nvPr userDrawn="1"/>
        </p:nvSpPr>
        <p:spPr>
          <a:xfrm>
            <a:off x="593090" y="5748656"/>
            <a:ext cx="9152890" cy="215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0000"/>
              </a:lnSpc>
              <a:spcAft>
                <a:spcPts val="100"/>
              </a:spcAft>
            </a:pPr>
            <a:r>
              <a:rPr lang="en-US" sz="600" b="0" i="0" u="none" kern="0" baseline="0" noProof="1">
                <a:solidFill>
                  <a:srgbClr val="B2B3B5"/>
                </a:solidFill>
                <a:latin typeface="Bosch Office Sans" pitchFamily="2" charset="0"/>
              </a:rPr>
              <a:t>© Bosch Global Software Technologies Company Limited 2022. All rights reserved, also regarding any disposal, exploitation, reproduction, editing, distribution, as well as in the event of applications for industrial property rights.</a:t>
            </a:r>
          </a:p>
        </p:txBody>
      </p:sp>
      <p:sp>
        <p:nvSpPr>
          <p:cNvPr id="9" name="Bosch_footer_2" hidden="1">
            <a:extLst>
              <a:ext uri="{FF2B5EF4-FFF2-40B4-BE49-F238E27FC236}">
                <a16:creationId xmlns:a16="http://schemas.microsoft.com/office/drawing/2014/main" id="{E897C98A-4665-443F-B1CF-E9B71E9916EC}"/>
              </a:ext>
            </a:extLst>
          </p:cNvPr>
          <p:cNvSpPr txBox="1"/>
          <p:nvPr userDrawn="1"/>
        </p:nvSpPr>
        <p:spPr>
          <a:xfrm>
            <a:off x="593090" y="5748656"/>
            <a:ext cx="9152890" cy="215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0000"/>
              </a:lnSpc>
              <a:spcAft>
                <a:spcPts val="100"/>
              </a:spcAft>
            </a:pPr>
            <a:r>
              <a:rPr lang="en-US" sz="600" kern="0" baseline="0" noProof="1">
                <a:solidFill>
                  <a:schemeClr val="tx1"/>
                </a:solidFill>
              </a:rPr>
              <a:t>%repositoryremark%</a:t>
            </a:r>
            <a:r>
              <a:rPr lang="en-US" sz="600" kern="0" baseline="0" noProof="1">
                <a:solidFill>
                  <a:srgbClr val="B2B3B5"/>
                </a:solidFill>
              </a:rPr>
              <a:t>%copyright%</a:t>
            </a:r>
          </a:p>
        </p:txBody>
      </p:sp>
      <p:sp>
        <p:nvSpPr>
          <p:cNvPr id="10" name="Bosch_footer_1" hidden="1">
            <a:extLst>
              <a:ext uri="{FF2B5EF4-FFF2-40B4-BE49-F238E27FC236}">
                <a16:creationId xmlns:a16="http://schemas.microsoft.com/office/drawing/2014/main" id="{BB7EB8EC-2C22-471E-A5D4-B578263D307B}"/>
              </a:ext>
            </a:extLst>
          </p:cNvPr>
          <p:cNvSpPr txBox="1"/>
          <p:nvPr userDrawn="1"/>
        </p:nvSpPr>
        <p:spPr>
          <a:xfrm>
            <a:off x="594000" y="5644800"/>
            <a:ext cx="9154800" cy="10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600" b="1" kern="0" baseline="0" noProof="1">
                <a:solidFill>
                  <a:srgbClr val="D70012"/>
                </a:solidFill>
              </a:rPr>
              <a:t>%confidentiality%</a:t>
            </a:r>
            <a:r>
              <a:rPr lang="en-US" sz="600" kern="0" baseline="0" noProof="1">
                <a:solidFill>
                  <a:schemeClr val="tx1"/>
                </a:solidFill>
              </a:rPr>
              <a:t>%businessunit%%departmentshort%%dateformat%</a:t>
            </a:r>
          </a:p>
        </p:txBody>
      </p:sp>
    </p:spTree>
    <p:extLst>
      <p:ext uri="{BB962C8B-B14F-4D97-AF65-F5344CB8AC3E}">
        <p14:creationId xmlns:p14="http://schemas.microsoft.com/office/powerpoint/2010/main" val="851553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41" r:id="rId2"/>
    <p:sldLayoutId id="2147483742" r:id="rId3"/>
    <p:sldLayoutId id="2147483713" r:id="rId4"/>
    <p:sldLayoutId id="2147483743" r:id="rId5"/>
    <p:sldLayoutId id="2147483721" r:id="rId6"/>
    <p:sldLayoutId id="2147483747" r:id="rId7"/>
    <p:sldLayoutId id="2147483723" r:id="rId8"/>
    <p:sldLayoutId id="2147483746" r:id="rId9"/>
    <p:sldLayoutId id="2147483744" r:id="rId10"/>
    <p:sldLayoutId id="2147483724" r:id="rId11"/>
    <p:sldLayoutId id="2147483726" r:id="rId12"/>
    <p:sldLayoutId id="2147483727" r:id="rId13"/>
    <p:sldLayoutId id="2147483728" r:id="rId14"/>
    <p:sldLayoutId id="2147483729" r:id="rId15"/>
    <p:sldLayoutId id="2147483745" r:id="rId16"/>
    <p:sldLayoutId id="2147483734" r:id="rId17"/>
    <p:sldLayoutId id="2147483731" r:id="rId18"/>
    <p:sldLayoutId id="2147483712" r:id="rId19"/>
    <p:sldLayoutId id="2147483748" r:id="rId20"/>
  </p:sldLayoutIdLst>
  <p:hf hdr="0" ftr="0" dt="0"/>
  <p:txStyles>
    <p:titleStyle>
      <a:lvl1pPr algn="l" defTabSz="914333" rtl="0" eaLnBrk="1" latinLnBrk="0" hangingPunct="1">
        <a:lnSpc>
          <a:spcPct val="89000"/>
        </a:lnSpc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51982" indent="-251982" algn="l" defTabSz="914333" rtl="0" eaLnBrk="1" latinLnBrk="0" hangingPunct="1">
        <a:lnSpc>
          <a:spcPct val="107000"/>
        </a:lnSpc>
        <a:spcBef>
          <a:spcPts val="500"/>
        </a:spcBef>
        <a:buFont typeface="Wingdings 3" panose="05040102010807070707" pitchFamily="18" charset="2"/>
        <a:buChar char="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07563" indent="-273580" algn="l" defTabSz="914333" rtl="0" eaLnBrk="1" latinLnBrk="0" hangingPunct="1">
        <a:lnSpc>
          <a:spcPct val="103000"/>
        </a:lnSpc>
        <a:spcBef>
          <a:spcPts val="500"/>
        </a:spcBef>
        <a:buFont typeface="Wingdings 3" panose="05040102010807070707" pitchFamily="18" charset="2"/>
        <a:buChar char="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30746" indent="-205185" algn="l" defTabSz="914333" rtl="0" eaLnBrk="1" latinLnBrk="0" hangingPunct="1">
        <a:lnSpc>
          <a:spcPct val="102000"/>
        </a:lnSpc>
        <a:spcBef>
          <a:spcPts val="500"/>
        </a:spcBef>
        <a:buFont typeface="Bosch Office Sans" pitchFamily="2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3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9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5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2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8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5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32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B5D884BD-A51A-4849-905C-B8FAE4E6B9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222917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306" imgH="306" progId="TCLayout.ActiveDocument.1">
                  <p:embed/>
                </p:oleObj>
              </mc:Choice>
              <mc:Fallback>
                <p:oleObj name="think-cell Folie" r:id="rId20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B5D884BD-A51A-4849-905C-B8FAE4E6B9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080" y="648000"/>
            <a:ext cx="10452100" cy="388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1"/>
              <a:t>Add 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9080" y="1295400"/>
            <a:ext cx="10452100" cy="41681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  <a:p>
            <a:pPr lvl="5"/>
            <a:r>
              <a:rPr lang="en-US" noProof="1"/>
              <a:t>Sixth level</a:t>
            </a:r>
          </a:p>
          <a:p>
            <a:pPr lvl="6"/>
            <a:r>
              <a:rPr lang="en-US" noProof="1"/>
              <a:t>Seventh level</a:t>
            </a:r>
          </a:p>
          <a:p>
            <a:pPr lvl="7"/>
            <a:r>
              <a:rPr lang="en-US" noProof="1"/>
              <a:t>Eighth level</a:t>
            </a:r>
          </a:p>
          <a:p>
            <a:pPr lvl="8"/>
            <a:r>
              <a:rPr lang="en-US" noProof="1"/>
              <a:t>Ninth level</a:t>
            </a:r>
          </a:p>
        </p:txBody>
      </p:sp>
      <p:sp>
        <p:nvSpPr>
          <p:cNvPr id="5" name="Bosch_footer_1">
            <a:extLst>
              <a:ext uri="{FF2B5EF4-FFF2-40B4-BE49-F238E27FC236}">
                <a16:creationId xmlns:a16="http://schemas.microsoft.com/office/drawing/2014/main" id="{EA78BAC4-FC81-4715-BED8-605625FA39A4}"/>
              </a:ext>
            </a:extLst>
          </p:cNvPr>
          <p:cNvSpPr txBox="1"/>
          <p:nvPr userDrawn="1"/>
        </p:nvSpPr>
        <p:spPr>
          <a:xfrm>
            <a:off x="593090" y="5643880"/>
            <a:ext cx="9152890" cy="1079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</a:pPr>
            <a:r>
              <a:rPr kumimoji="0" lang="en-US" sz="600" b="0" i="0" u="none" strike="noStrike" kern="0" cap="none" spc="0" normalizeH="0" baseline="0" noProof="1">
                <a:ln>
                  <a:noFill/>
                </a:ln>
                <a:solidFill>
                  <a:srgbClr val="002B49"/>
                </a:solidFill>
                <a:effectLst/>
                <a:uLnTx/>
                <a:uFillTx/>
                <a:latin typeface="Bosch Office Sans" pitchFamily="2" charset="0"/>
              </a:rPr>
              <a:t>DC-JS/PRM-T | 05.07.2022</a:t>
            </a:r>
          </a:p>
        </p:txBody>
      </p:sp>
      <p:sp>
        <p:nvSpPr>
          <p:cNvPr id="6" name="Bosch_footer_2">
            <a:extLst>
              <a:ext uri="{FF2B5EF4-FFF2-40B4-BE49-F238E27FC236}">
                <a16:creationId xmlns:a16="http://schemas.microsoft.com/office/drawing/2014/main" id="{054E7C6F-D3F2-4D18-AE27-4A5BF90323E4}"/>
              </a:ext>
            </a:extLst>
          </p:cNvPr>
          <p:cNvSpPr txBox="1"/>
          <p:nvPr userDrawn="1"/>
        </p:nvSpPr>
        <p:spPr>
          <a:xfrm>
            <a:off x="593090" y="5748656"/>
            <a:ext cx="9152890" cy="215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0000"/>
              </a:lnSpc>
              <a:spcAft>
                <a:spcPts val="100"/>
              </a:spcAft>
            </a:pPr>
            <a:r>
              <a:rPr lang="en-US" sz="600" b="0" i="0" u="none" kern="0" baseline="0" noProof="1">
                <a:solidFill>
                  <a:srgbClr val="819EB1"/>
                </a:solidFill>
                <a:latin typeface="Bosch Office Sans" pitchFamily="2" charset="0"/>
              </a:rPr>
              <a:t>© Bosch Rexroth AG 2021. All rights reserved, also regarding any disposal, exploitation, reproduction, editing, distribution, as well as in the event of applications for industrial property rights.</a:t>
            </a:r>
          </a:p>
        </p:txBody>
      </p:sp>
      <p:sp>
        <p:nvSpPr>
          <p:cNvPr id="8" name="Bosch_footer_2" hidden="1">
            <a:extLst>
              <a:ext uri="{FF2B5EF4-FFF2-40B4-BE49-F238E27FC236}">
                <a16:creationId xmlns:a16="http://schemas.microsoft.com/office/drawing/2014/main" id="{5D02BF85-46F8-4435-90C8-68AE8D6BB5BD}"/>
              </a:ext>
            </a:extLst>
          </p:cNvPr>
          <p:cNvSpPr txBox="1"/>
          <p:nvPr userDrawn="1"/>
        </p:nvSpPr>
        <p:spPr>
          <a:xfrm>
            <a:off x="593090" y="5748656"/>
            <a:ext cx="9152890" cy="215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0000"/>
              </a:lnSpc>
              <a:spcAft>
                <a:spcPts val="100"/>
              </a:spcAft>
            </a:pPr>
            <a:r>
              <a:rPr lang="en-US" sz="600" kern="0" baseline="0" noProof="1">
                <a:solidFill>
                  <a:schemeClr val="accent1"/>
                </a:solidFill>
              </a:rPr>
              <a:t>%repositoryremark%</a:t>
            </a:r>
            <a:r>
              <a:rPr lang="en-US" sz="600" kern="0" baseline="0" noProof="1">
                <a:solidFill>
                  <a:srgbClr val="819EB1"/>
                </a:solidFill>
              </a:rPr>
              <a:t>%copyright%</a:t>
            </a:r>
          </a:p>
        </p:txBody>
      </p:sp>
      <p:sp>
        <p:nvSpPr>
          <p:cNvPr id="9" name="Bosch_footer_1" hidden="1">
            <a:extLst>
              <a:ext uri="{FF2B5EF4-FFF2-40B4-BE49-F238E27FC236}">
                <a16:creationId xmlns:a16="http://schemas.microsoft.com/office/drawing/2014/main" id="{49B7D0DB-D891-4F39-A1EB-81FDAB75CF1C}"/>
              </a:ext>
            </a:extLst>
          </p:cNvPr>
          <p:cNvSpPr txBox="1"/>
          <p:nvPr userDrawn="1"/>
        </p:nvSpPr>
        <p:spPr>
          <a:xfrm>
            <a:off x="593090" y="5643880"/>
            <a:ext cx="9152890" cy="1079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600" b="1" kern="0" baseline="0" noProof="1">
                <a:solidFill>
                  <a:srgbClr val="D70012"/>
                </a:solidFill>
              </a:rPr>
              <a:t>%confidentiality%</a:t>
            </a:r>
            <a:r>
              <a:rPr lang="en-US" sz="600" kern="0" baseline="0" noProof="1">
                <a:solidFill>
                  <a:schemeClr val="accent1"/>
                </a:solidFill>
              </a:rPr>
              <a:t>%businessunit%%departmentshort%%dateformat%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F1A5E6DA-07DF-450E-B436-800FB8769C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1200" kern="0" baseline="0">
                <a:solidFill>
                  <a:schemeClr val="accent3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2662187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66" r:id="rId17"/>
  </p:sldLayoutIdLst>
  <p:hf hdr="0" ftr="0" dt="0"/>
  <p:txStyles>
    <p:titleStyle>
      <a:lvl1pPr algn="l" defTabSz="914333" rtl="0" eaLnBrk="1" latinLnBrk="0" hangingPunct="1">
        <a:lnSpc>
          <a:spcPct val="89000"/>
        </a:lnSpc>
        <a:spcBef>
          <a:spcPct val="0"/>
        </a:spcBef>
        <a:buNone/>
        <a:defRPr sz="2800" kern="1200" baseline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51982" indent="-251982" algn="l" defTabSz="914333" rtl="0" eaLnBrk="1" latinLnBrk="0" hangingPunct="1">
        <a:lnSpc>
          <a:spcPct val="107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07563" indent="-273580" algn="l" defTabSz="914333" rtl="0" eaLnBrk="1" latinLnBrk="0" hangingPunct="1">
        <a:lnSpc>
          <a:spcPct val="103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30746" indent="-205185" algn="l" defTabSz="914333" rtl="0" eaLnBrk="1" latinLnBrk="0" hangingPunct="1">
        <a:lnSpc>
          <a:spcPct val="102000"/>
        </a:lnSpc>
        <a:spcBef>
          <a:spcPts val="500"/>
        </a:spcBef>
        <a:buFont typeface="Bosch Office Sans" pitchFamily="2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3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9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5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2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8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5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32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openxmlformats.org/officeDocument/2006/relationships/image" Target="../media/image1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7.xml"/><Relationship Id="rId6" Type="http://schemas.openxmlformats.org/officeDocument/2006/relationships/image" Target="../media/image55.png"/><Relationship Id="rId5" Type="http://schemas.openxmlformats.org/officeDocument/2006/relationships/image" Target="../media/image54.jpeg"/><Relationship Id="rId4" Type="http://schemas.openxmlformats.org/officeDocument/2006/relationships/image" Target="../media/image53.em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13" Type="http://schemas.openxmlformats.org/officeDocument/2006/relationships/image" Target="../media/image68.svg"/><Relationship Id="rId3" Type="http://schemas.openxmlformats.org/officeDocument/2006/relationships/image" Target="../media/image58.png"/><Relationship Id="rId7" Type="http://schemas.openxmlformats.org/officeDocument/2006/relationships/image" Target="../media/image62.svg"/><Relationship Id="rId12" Type="http://schemas.openxmlformats.org/officeDocument/2006/relationships/image" Target="../media/image67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61.png"/><Relationship Id="rId11" Type="http://schemas.openxmlformats.org/officeDocument/2006/relationships/image" Target="../media/image66.svg"/><Relationship Id="rId5" Type="http://schemas.openxmlformats.org/officeDocument/2006/relationships/image" Target="../media/image60.svg"/><Relationship Id="rId10" Type="http://schemas.openxmlformats.org/officeDocument/2006/relationships/image" Target="../media/image65.png"/><Relationship Id="rId4" Type="http://schemas.openxmlformats.org/officeDocument/2006/relationships/image" Target="../media/image59.png"/><Relationship Id="rId9" Type="http://schemas.openxmlformats.org/officeDocument/2006/relationships/image" Target="../media/image64.sv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2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15.jpeg"/><Relationship Id="rId7" Type="http://schemas.openxmlformats.org/officeDocument/2006/relationships/diagramColors" Target="../diagrams/colors3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8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10" Type="http://schemas.openxmlformats.org/officeDocument/2006/relationships/image" Target="../media/image74.svg"/><Relationship Id="rId4" Type="http://schemas.openxmlformats.org/officeDocument/2006/relationships/diagramData" Target="../diagrams/data3.xml"/><Relationship Id="rId9" Type="http://schemas.openxmlformats.org/officeDocument/2006/relationships/image" Target="../media/image7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diagramColors" Target="../diagrams/colors2.xml"/><Relationship Id="rId3" Type="http://schemas.openxmlformats.org/officeDocument/2006/relationships/slideLayout" Target="../slideLayouts/slideLayout8.xml"/><Relationship Id="rId7" Type="http://schemas.openxmlformats.org/officeDocument/2006/relationships/diagramQuickStyle" Target="../diagrams/quickStyle1.xml"/><Relationship Id="rId12" Type="http://schemas.openxmlformats.org/officeDocument/2006/relationships/diagramQuickStyle" Target="../diagrams/quickStyle2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diagramLayout" Target="../diagrams/layout1.xml"/><Relationship Id="rId11" Type="http://schemas.openxmlformats.org/officeDocument/2006/relationships/diagramLayout" Target="../diagrams/layout2.xml"/><Relationship Id="rId5" Type="http://schemas.openxmlformats.org/officeDocument/2006/relationships/diagramData" Target="../diagrams/data1.xml"/><Relationship Id="rId10" Type="http://schemas.openxmlformats.org/officeDocument/2006/relationships/diagramData" Target="../diagrams/data2.xml"/><Relationship Id="rId4" Type="http://schemas.openxmlformats.org/officeDocument/2006/relationships/image" Target="../media/image15.jpeg"/><Relationship Id="rId9" Type="http://schemas.microsoft.com/office/2007/relationships/diagramDrawing" Target="../diagrams/drawing1.xml"/><Relationship Id="rId14" Type="http://schemas.microsoft.com/office/2007/relationships/diagramDrawing" Target="../diagrams/drawing2.xml"/></Relationships>
</file>

<file path=ppt/slides/_rels/slide2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15.jpeg"/><Relationship Id="rId7" Type="http://schemas.openxmlformats.org/officeDocument/2006/relationships/diagramColors" Target="../diagrams/colors4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9.xml"/><Relationship Id="rId6" Type="http://schemas.openxmlformats.org/officeDocument/2006/relationships/diagramQuickStyle" Target="../diagrams/quickStyle4.xml"/><Relationship Id="rId11" Type="http://schemas.openxmlformats.org/officeDocument/2006/relationships/image" Target="../media/image77.png"/><Relationship Id="rId5" Type="http://schemas.openxmlformats.org/officeDocument/2006/relationships/diagramLayout" Target="../diagrams/layout4.xml"/><Relationship Id="rId10" Type="http://schemas.openxmlformats.org/officeDocument/2006/relationships/image" Target="../media/image76.png"/><Relationship Id="rId4" Type="http://schemas.openxmlformats.org/officeDocument/2006/relationships/diagramData" Target="../diagrams/data4.xml"/><Relationship Id="rId9" Type="http://schemas.openxmlformats.org/officeDocument/2006/relationships/image" Target="../media/image75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78.png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7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13" Type="http://schemas.openxmlformats.org/officeDocument/2006/relationships/image" Target="../media/image20.png"/><Relationship Id="rId18" Type="http://schemas.openxmlformats.org/officeDocument/2006/relationships/image" Target="../media/image25.jpeg"/><Relationship Id="rId3" Type="http://schemas.openxmlformats.org/officeDocument/2006/relationships/tags" Target="../tags/tag62.xml"/><Relationship Id="rId7" Type="http://schemas.openxmlformats.org/officeDocument/2006/relationships/slideLayout" Target="../slideLayouts/slideLayout9.xml"/><Relationship Id="rId12" Type="http://schemas.openxmlformats.org/officeDocument/2006/relationships/image" Target="../media/image19.png"/><Relationship Id="rId17" Type="http://schemas.openxmlformats.org/officeDocument/2006/relationships/image" Target="../media/image24.png"/><Relationship Id="rId2" Type="http://schemas.openxmlformats.org/officeDocument/2006/relationships/tags" Target="../tags/tag61.xml"/><Relationship Id="rId16" Type="http://schemas.openxmlformats.org/officeDocument/2006/relationships/image" Target="../media/image23.png"/><Relationship Id="rId20" Type="http://schemas.openxmlformats.org/officeDocument/2006/relationships/image" Target="../media/image27.png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image" Target="../media/image18.png"/><Relationship Id="rId5" Type="http://schemas.openxmlformats.org/officeDocument/2006/relationships/tags" Target="../tags/tag64.xml"/><Relationship Id="rId15" Type="http://schemas.openxmlformats.org/officeDocument/2006/relationships/image" Target="../media/image22.png"/><Relationship Id="rId10" Type="http://schemas.openxmlformats.org/officeDocument/2006/relationships/image" Target="../media/image17.png"/><Relationship Id="rId19" Type="http://schemas.openxmlformats.org/officeDocument/2006/relationships/image" Target="../media/image26.jpeg"/><Relationship Id="rId4" Type="http://schemas.openxmlformats.org/officeDocument/2006/relationships/tags" Target="../tags/tag63.xml"/><Relationship Id="rId9" Type="http://schemas.openxmlformats.org/officeDocument/2006/relationships/image" Target="../media/image16.png"/><Relationship Id="rId1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5.png"/><Relationship Id="rId18" Type="http://schemas.microsoft.com/office/2007/relationships/hdphoto" Target="../media/hdphoto6.wdp"/><Relationship Id="rId3" Type="http://schemas.openxmlformats.org/officeDocument/2006/relationships/image" Target="../media/image29.png"/><Relationship Id="rId21" Type="http://schemas.openxmlformats.org/officeDocument/2006/relationships/image" Target="../media/image39.png"/><Relationship Id="rId7" Type="http://schemas.microsoft.com/office/2007/relationships/hdphoto" Target="../media/hdphoto1.wdp"/><Relationship Id="rId12" Type="http://schemas.microsoft.com/office/2007/relationships/hdphoto" Target="../media/hdphoto3.wdp"/><Relationship Id="rId17" Type="http://schemas.openxmlformats.org/officeDocument/2006/relationships/image" Target="../media/image37.png"/><Relationship Id="rId2" Type="http://schemas.openxmlformats.org/officeDocument/2006/relationships/slideLayout" Target="../slideLayouts/slideLayout23.xml"/><Relationship Id="rId16" Type="http://schemas.microsoft.com/office/2007/relationships/hdphoto" Target="../media/hdphoto5.wdp"/><Relationship Id="rId20" Type="http://schemas.microsoft.com/office/2007/relationships/hdphoto" Target="../media/hdphoto7.wdp"/><Relationship Id="rId1" Type="http://schemas.openxmlformats.org/officeDocument/2006/relationships/tags" Target="../tags/tag66.xml"/><Relationship Id="rId6" Type="http://schemas.openxmlformats.org/officeDocument/2006/relationships/image" Target="../media/image31.png"/><Relationship Id="rId11" Type="http://schemas.openxmlformats.org/officeDocument/2006/relationships/image" Target="../media/image34.png"/><Relationship Id="rId24" Type="http://schemas.microsoft.com/office/2007/relationships/hdphoto" Target="../media/hdphoto9.wdp"/><Relationship Id="rId5" Type="http://schemas.openxmlformats.org/officeDocument/2006/relationships/image" Target="../media/image30.emf"/><Relationship Id="rId15" Type="http://schemas.openxmlformats.org/officeDocument/2006/relationships/image" Target="../media/image36.png"/><Relationship Id="rId23" Type="http://schemas.openxmlformats.org/officeDocument/2006/relationships/image" Target="../media/image40.png"/><Relationship Id="rId10" Type="http://schemas.openxmlformats.org/officeDocument/2006/relationships/image" Target="../media/image33.png"/><Relationship Id="rId19" Type="http://schemas.openxmlformats.org/officeDocument/2006/relationships/image" Target="../media/image38.png"/><Relationship Id="rId4" Type="http://schemas.openxmlformats.org/officeDocument/2006/relationships/oleObject" Target="../embeddings/oleObject2.bin"/><Relationship Id="rId9" Type="http://schemas.microsoft.com/office/2007/relationships/hdphoto" Target="../media/hdphoto2.wdp"/><Relationship Id="rId14" Type="http://schemas.microsoft.com/office/2007/relationships/hdphoto" Target="../media/hdphoto4.wdp"/><Relationship Id="rId22" Type="http://schemas.microsoft.com/office/2007/relationships/hdphoto" Target="../media/hdphoto8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2">
            <a:extLst>
              <a:ext uri="{FF2B5EF4-FFF2-40B4-BE49-F238E27FC236}">
                <a16:creationId xmlns:a16="http://schemas.microsoft.com/office/drawing/2014/main" id="{B401D3D4-4A93-4D63-BAB0-22E39337103A}"/>
              </a:ext>
            </a:extLst>
          </p:cNvPr>
          <p:cNvSpPr txBox="1">
            <a:spLocks/>
          </p:cNvSpPr>
          <p:nvPr/>
        </p:nvSpPr>
        <p:spPr>
          <a:xfrm>
            <a:off x="2917842" y="2449931"/>
            <a:ext cx="5544106" cy="394723"/>
          </a:xfrm>
          <a:prstGeom prst="rect">
            <a:avLst/>
          </a:prstGeom>
          <a:ln w="0">
            <a:noFill/>
          </a:ln>
          <a:effectLst/>
        </p:spPr>
        <p:txBody>
          <a:bodyPr vert="horz" wrap="square" lIns="0" tIns="12700" rIns="0" bIns="0" rtlCol="0" anchor="t" anchorCtr="0">
            <a:spAutoFit/>
          </a:bodyPr>
          <a:lstStyle>
            <a:lvl1pPr algn="l" defTabSz="91433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5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lnSpc>
                <a:spcPts val="3400"/>
              </a:lnSpc>
              <a:spcAft>
                <a:spcPts val="0"/>
              </a:spcAft>
            </a:pPr>
            <a:r>
              <a:rPr lang="en-US" sz="1600">
                <a:solidFill>
                  <a:srgbClr val="C00C79"/>
                </a:solidFill>
                <a:latin typeface="Bosch Sans Bold"/>
              </a:rPr>
              <a:t>LuxaOS &amp; LuxaMatrix MRP Meeting – 28.11.2025</a:t>
            </a:r>
            <a:endParaRPr lang="en-US" sz="4000">
              <a:latin typeface="Bosch Sans Bold" panose="020B07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77429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2F5EC5-EDDB-78D3-03BE-45ED17E719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9200" y="41544"/>
            <a:ext cx="10450800" cy="388800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b="1" kern="0" err="1">
                <a:solidFill>
                  <a:srgbClr val="CC0099"/>
                </a:solidFill>
                <a:latin typeface="+mn-lt"/>
                <a:ea typeface="+mn-ea"/>
                <a:cs typeface="+mn-cs"/>
              </a:rPr>
              <a:t>LUXAMatrix</a:t>
            </a:r>
            <a:endParaRPr lang="en-US" b="1" kern="0">
              <a:solidFill>
                <a:srgbClr val="CC0099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6792FB-E189-E16A-FB4D-3501258B2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898AEC0-503E-4FA4-859C-D0F72D6E3F79}" type="slidenum">
              <a:rPr kumimoji="0" lang="en-US" sz="1200" b="0" i="0" u="none" strike="noStrike" kern="0" cap="none" spc="0" normalizeH="0" baseline="0" noProof="1" smtClean="0">
                <a:ln>
                  <a:noFill/>
                </a:ln>
                <a:solidFill>
                  <a:srgbClr val="999FA6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0" cap="none" spc="0" normalizeH="0" baseline="0" noProof="1">
              <a:ln>
                <a:noFill/>
              </a:ln>
              <a:solidFill>
                <a:srgbClr val="999FA6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B2CFD42-759C-6D26-DE9D-876F8A45CE18}"/>
              </a:ext>
            </a:extLst>
          </p:cNvPr>
          <p:cNvSpPr txBox="1"/>
          <p:nvPr/>
        </p:nvSpPr>
        <p:spPr>
          <a:xfrm>
            <a:off x="2021918" y="602603"/>
            <a:ext cx="3323551" cy="1733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Key Featur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Advanced statistical analysis of tightening result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     from NEXO and System 350 devices on ctrlX hardwar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Hassle-Free installation &amp; operation – run 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     CtrlX Core hardwar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en-US" sz="1050" b="0" i="0" u="none" strike="noStrike" kern="0" cap="none" spc="0" normalizeH="0" baseline="0" noProof="0">
              <a:ln>
                <a:noFill/>
              </a:ln>
              <a:solidFill>
                <a:srgbClr val="004975"/>
              </a:solidFill>
              <a:effectLst/>
              <a:uLnTx/>
              <a:uFillTx/>
              <a:latin typeface="Bosch Office Sans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                          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696E5A8-E7B1-673C-107F-9A698E23B1E5}"/>
              </a:ext>
            </a:extLst>
          </p:cNvPr>
          <p:cNvSpPr txBox="1"/>
          <p:nvPr/>
        </p:nvSpPr>
        <p:spPr>
          <a:xfrm>
            <a:off x="554990" y="1765106"/>
            <a:ext cx="591991" cy="1817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err="1">
                <a:ln>
                  <a:noFill/>
                </a:ln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LUXAStat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Bosch Office Sans" pitchFamily="34" charset="0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6015596-807D-E781-789D-3315E59531B3}"/>
              </a:ext>
            </a:extLst>
          </p:cNvPr>
          <p:cNvSpPr txBox="1"/>
          <p:nvPr/>
        </p:nvSpPr>
        <p:spPr>
          <a:xfrm>
            <a:off x="3939764" y="1978494"/>
            <a:ext cx="3007028" cy="179019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BGSW In-Scop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Full responsibili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Software E2E development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OCaaS Sca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Azure DevOps(CI/CD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App valid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050" b="1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Technology stack: </a:t>
            </a: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NodeJs,</a:t>
            </a:r>
            <a:r>
              <a:rPr kumimoji="0" lang="en-US" sz="1050" b="1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 </a:t>
            </a:r>
            <a:r>
              <a:rPr kumimoji="0" lang="en-US" sz="1050" b="0" i="0" u="none" strike="noStrike" kern="0" cap="none" spc="0" normalizeH="0" baseline="0" noProof="0" err="1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Angular,C</a:t>
            </a: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#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     Azure DevOp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E06CF70-D1F8-03BF-0E4D-45C3506210EC}"/>
              </a:ext>
            </a:extLst>
          </p:cNvPr>
          <p:cNvSpPr txBox="1"/>
          <p:nvPr/>
        </p:nvSpPr>
        <p:spPr>
          <a:xfrm>
            <a:off x="6105101" y="2356529"/>
            <a:ext cx="1029550" cy="24616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err="1">
                <a:ln>
                  <a:noFill/>
                </a:ln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LUXAConnect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Bosch Office Sans" pitchFamily="34" charset="0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CF7B5F-3E81-B1FF-C56D-E84EDAD94EEA}"/>
              </a:ext>
            </a:extLst>
          </p:cNvPr>
          <p:cNvSpPr txBox="1"/>
          <p:nvPr/>
        </p:nvSpPr>
        <p:spPr>
          <a:xfrm>
            <a:off x="7637010" y="542441"/>
            <a:ext cx="3323551" cy="220900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Key Featur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Communication b/w CtrlX Core and Tightening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     devices (NEXO, System 350, OPEX, etc.,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Continuous synchronization of tightening results data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Licensing &amp; access control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Hassle-Free installation &amp; operation – run 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     CtrlX Core hardwar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Other app can retrieve the tightening results through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     Open protocol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en-US" sz="1050" b="0" i="0" u="none" strike="noStrike" kern="0" cap="none" spc="0" normalizeH="0" baseline="0" noProof="0">
              <a:ln>
                <a:noFill/>
              </a:ln>
              <a:solidFill>
                <a:srgbClr val="004975"/>
              </a:solidFill>
              <a:effectLst/>
              <a:uLnTx/>
              <a:uFillTx/>
              <a:latin typeface="Bosch Office Sans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                          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D9A73C4-6E71-E139-66FE-0652922F62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84600" y="456598"/>
            <a:ext cx="2111088" cy="192257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7DF0ADD-4A5B-EF4E-AE41-BDAD7F1C38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0948" y="840724"/>
            <a:ext cx="1642845" cy="83771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0843EB5-3FA8-E948-21AD-FF34C6F85E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7739" y="3630607"/>
            <a:ext cx="1642846" cy="180550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8D542DF-F85F-C5B0-459F-F166BF1848B1}"/>
              </a:ext>
            </a:extLst>
          </p:cNvPr>
          <p:cNvSpPr txBox="1"/>
          <p:nvPr/>
        </p:nvSpPr>
        <p:spPr>
          <a:xfrm>
            <a:off x="1839583" y="3844727"/>
            <a:ext cx="2894523" cy="12080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sng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Key Featur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Communication b/w CtrlX Core and Tightening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     devices (NEXO, System 350, OPEX, etc.,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000" kern="0">
                <a:solidFill>
                  <a:srgbClr val="004975"/>
                </a:solidFill>
              </a:rPr>
              <a:t>Firmware Update to All the devices using once click</a:t>
            </a: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4975"/>
              </a:solidFill>
              <a:effectLst/>
              <a:uLnTx/>
              <a:uFillTx/>
              <a:latin typeface="Bosch Office Sans" pitchFamily="34" charset="0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4C9C70B-B9C2-1439-5BDC-0CDFC85D8E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47296" y="3690998"/>
            <a:ext cx="1975214" cy="139015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376ED86-FD70-AC88-2B5E-21C375332756}"/>
              </a:ext>
            </a:extLst>
          </p:cNvPr>
          <p:cNvSpPr txBox="1"/>
          <p:nvPr/>
        </p:nvSpPr>
        <p:spPr>
          <a:xfrm>
            <a:off x="7381508" y="4325629"/>
            <a:ext cx="551422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Predictive Maintenance of the product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C7269B7-24C0-EC83-6F56-392EA5316C65}"/>
              </a:ext>
            </a:extLst>
          </p:cNvPr>
          <p:cNvSpPr txBox="1"/>
          <p:nvPr/>
        </p:nvSpPr>
        <p:spPr>
          <a:xfrm>
            <a:off x="7322510" y="3768685"/>
            <a:ext cx="644978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sng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Key Featur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6CC4C56-0130-372E-8FF9-0B2A9EC18853}"/>
              </a:ext>
            </a:extLst>
          </p:cNvPr>
          <p:cNvSpPr txBox="1"/>
          <p:nvPr/>
        </p:nvSpPr>
        <p:spPr>
          <a:xfrm>
            <a:off x="612321" y="3396343"/>
            <a:ext cx="800100" cy="1817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uxaUpdat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083D93F-3C2F-3D9F-D39E-DFA87AD5FCFB}"/>
              </a:ext>
            </a:extLst>
          </p:cNvPr>
          <p:cNvGrpSpPr/>
          <p:nvPr/>
        </p:nvGrpSpPr>
        <p:grpSpPr>
          <a:xfrm>
            <a:off x="137739" y="31255"/>
            <a:ext cx="10442601" cy="421106"/>
            <a:chOff x="267399" y="227088"/>
            <a:chExt cx="10442601" cy="421106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57C11C1C-54DF-8972-1D46-11FAD961AAA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7399" y="648194"/>
              <a:ext cx="9920354" cy="0"/>
            </a:xfrm>
            <a:prstGeom prst="line">
              <a:avLst/>
            </a:prstGeom>
            <a:ln w="19050">
              <a:solidFill>
                <a:srgbClr val="BD0F7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C8EAE16F-F031-D88D-87B5-BF0245D71FA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371" t="3680" r="2373" b="90019"/>
            <a:stretch/>
          </p:blipFill>
          <p:spPr>
            <a:xfrm>
              <a:off x="10244221" y="227088"/>
              <a:ext cx="465779" cy="388801"/>
            </a:xfrm>
            <a:prstGeom prst="rect">
              <a:avLst/>
            </a:prstGeom>
          </p:spPr>
        </p:pic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ED4988B4-B41F-4367-61DE-6886A3D861D3}"/>
              </a:ext>
            </a:extLst>
          </p:cNvPr>
          <p:cNvSpPr txBox="1"/>
          <p:nvPr/>
        </p:nvSpPr>
        <p:spPr>
          <a:xfrm>
            <a:off x="5894614" y="5198587"/>
            <a:ext cx="1118507" cy="1081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uxaMaintenance</a:t>
            </a:r>
          </a:p>
        </p:txBody>
      </p:sp>
    </p:spTree>
    <p:extLst>
      <p:ext uri="{BB962C8B-B14F-4D97-AF65-F5344CB8AC3E}">
        <p14:creationId xmlns:p14="http://schemas.microsoft.com/office/powerpoint/2010/main" val="18501652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CA201F-52E1-294E-2C2F-3C71AD0E0E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CCC7F4-B959-36D1-A8F4-7594B8A3146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67224" y="235128"/>
            <a:ext cx="6897782" cy="412872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kern="1200" spc="-55">
                <a:solidFill>
                  <a:srgbClr val="BC0F79"/>
                </a:solidFill>
                <a:latin typeface="Bosch Sans Bold"/>
                <a:cs typeface="Arial"/>
              </a:rPr>
              <a:t>Architecture – LuxaMatrix</a:t>
            </a:r>
            <a:endParaRPr lang="en-US" sz="2800" i="0" u="none" strike="noStrike" kern="1200" cap="none" spc="-55" normalizeH="0" baseline="0" noProof="0" err="1">
              <a:ln>
                <a:noFill/>
              </a:ln>
              <a:solidFill>
                <a:srgbClr val="BC0F79"/>
              </a:solidFill>
              <a:effectLst/>
              <a:uLnTx/>
              <a:uFillTx/>
              <a:latin typeface="Bosch Sans Bold" panose="020B0704020202020204" pitchFamily="34" charset="0"/>
              <a:cs typeface="Arial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9088B66-DC60-3FAF-83DA-35361608D520}"/>
              </a:ext>
            </a:extLst>
          </p:cNvPr>
          <p:cNvGrpSpPr/>
          <p:nvPr/>
        </p:nvGrpSpPr>
        <p:grpSpPr>
          <a:xfrm>
            <a:off x="267399" y="227088"/>
            <a:ext cx="10442601" cy="421106"/>
            <a:chOff x="267399" y="227088"/>
            <a:chExt cx="10442601" cy="421106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F38DB29B-DE13-EA62-D2F7-8D2F1497F98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7399" y="648194"/>
              <a:ext cx="9920354" cy="0"/>
            </a:xfrm>
            <a:prstGeom prst="line">
              <a:avLst/>
            </a:prstGeom>
            <a:ln w="19050">
              <a:solidFill>
                <a:srgbClr val="BD0F7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5E8C600-5219-FE17-425D-4110BB7BF5E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371" t="3680" r="2373" b="90019"/>
            <a:stretch/>
          </p:blipFill>
          <p:spPr>
            <a:xfrm>
              <a:off x="10244221" y="227088"/>
              <a:ext cx="465779" cy="388801"/>
            </a:xfrm>
            <a:prstGeom prst="rect">
              <a:avLst/>
            </a:prstGeom>
          </p:spPr>
        </p:pic>
      </p:grpSp>
      <p:pic>
        <p:nvPicPr>
          <p:cNvPr id="10" name="Picture 9" descr="A screenshot of a computer&#10;&#10;AI-generated content may be incorrect.">
            <a:extLst>
              <a:ext uri="{FF2B5EF4-FFF2-40B4-BE49-F238E27FC236}">
                <a16:creationId xmlns:a16="http://schemas.microsoft.com/office/drawing/2014/main" id="{E7862520-C090-7AEB-4204-FBC25CE8CE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6158" y="838492"/>
            <a:ext cx="8366037" cy="4772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24401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 Same Side Corner Rectangle 1"/>
          <p:cNvSpPr/>
          <p:nvPr/>
        </p:nvSpPr>
        <p:spPr>
          <a:xfrm>
            <a:off x="422242" y="2824550"/>
            <a:ext cx="1420839" cy="260757"/>
          </a:xfrm>
          <a:prstGeom prst="round2SameRect">
            <a:avLst>
              <a:gd name="adj1" fmla="val 27188"/>
              <a:gd name="adj2" fmla="val 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8090" rtlCol="0" anchor="ctr"/>
          <a:lstStyle/>
          <a:p>
            <a:pPr marL="231381" indent="-231381" defTabSz="822686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60" b="1">
                <a:solidFill>
                  <a:prstClr val="white"/>
                </a:solidFill>
                <a:latin typeface="Roboto" pitchFamily="2" charset="0"/>
                <a:ea typeface="Roboto" pitchFamily="2" charset="0"/>
              </a:rPr>
              <a:t>2020</a:t>
            </a:r>
          </a:p>
        </p:txBody>
      </p:sp>
      <p:cxnSp>
        <p:nvCxnSpPr>
          <p:cNvPr id="15" name="Straight Connector 14"/>
          <p:cNvCxnSpPr/>
          <p:nvPr/>
        </p:nvCxnSpPr>
        <p:spPr>
          <a:xfrm flipV="1">
            <a:off x="575627" y="2587248"/>
            <a:ext cx="0" cy="237300"/>
          </a:xfrm>
          <a:prstGeom prst="line">
            <a:avLst/>
          </a:prstGeom>
          <a:ln w="38100"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2757778" y="3346066"/>
            <a:ext cx="0" cy="237300"/>
          </a:xfrm>
          <a:prstGeom prst="line">
            <a:avLst/>
          </a:prstGeom>
          <a:solidFill>
            <a:schemeClr val="accent2"/>
          </a:solidFill>
          <a:ln w="38100">
            <a:solidFill>
              <a:schemeClr val="accent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ound Same Side Corner Rectangle 25"/>
          <p:cNvSpPr/>
          <p:nvPr/>
        </p:nvSpPr>
        <p:spPr>
          <a:xfrm>
            <a:off x="2555922" y="2824550"/>
            <a:ext cx="1420839" cy="260757"/>
          </a:xfrm>
          <a:prstGeom prst="round2SameRect">
            <a:avLst>
              <a:gd name="adj1" fmla="val 27188"/>
              <a:gd name="adj2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8090" rtlCol="0" anchor="ctr"/>
          <a:lstStyle/>
          <a:p>
            <a:pPr marL="231381" indent="-231381" defTabSz="822686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60" b="1">
                <a:solidFill>
                  <a:prstClr val="white"/>
                </a:solidFill>
                <a:latin typeface="Roboto" pitchFamily="2" charset="0"/>
                <a:ea typeface="Roboto" pitchFamily="2" charset="0"/>
              </a:rPr>
              <a:t>2023</a:t>
            </a:r>
          </a:p>
        </p:txBody>
      </p:sp>
      <p:cxnSp>
        <p:nvCxnSpPr>
          <p:cNvPr id="28" name="Straight Connector 27"/>
          <p:cNvCxnSpPr/>
          <p:nvPr/>
        </p:nvCxnSpPr>
        <p:spPr>
          <a:xfrm flipV="1">
            <a:off x="2709306" y="2587248"/>
            <a:ext cx="0" cy="237300"/>
          </a:xfrm>
          <a:prstGeom prst="line">
            <a:avLst/>
          </a:prstGeom>
          <a:solidFill>
            <a:schemeClr val="accent3"/>
          </a:solidFill>
          <a:ln w="381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4891457" y="3346066"/>
            <a:ext cx="0" cy="237300"/>
          </a:xfrm>
          <a:prstGeom prst="line">
            <a:avLst/>
          </a:prstGeom>
          <a:solidFill>
            <a:schemeClr val="accent4"/>
          </a:solidFill>
          <a:ln w="38100">
            <a:solidFill>
              <a:schemeClr val="accent4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ound Same Side Corner Rectangle 33"/>
          <p:cNvSpPr/>
          <p:nvPr/>
        </p:nvSpPr>
        <p:spPr>
          <a:xfrm>
            <a:off x="4682301" y="2824550"/>
            <a:ext cx="1420839" cy="260757"/>
          </a:xfrm>
          <a:prstGeom prst="round2SameRect">
            <a:avLst>
              <a:gd name="adj1" fmla="val 27188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8090" rtlCol="0" anchor="ctr"/>
          <a:lstStyle/>
          <a:p>
            <a:pPr marL="231381" indent="-231381" defTabSz="822686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60" b="1">
                <a:solidFill>
                  <a:prstClr val="white"/>
                </a:solidFill>
                <a:latin typeface="Roboto" pitchFamily="2" charset="0"/>
                <a:ea typeface="Roboto" pitchFamily="2" charset="0"/>
              </a:rPr>
              <a:t>2025</a:t>
            </a:r>
          </a:p>
        </p:txBody>
      </p:sp>
      <p:cxnSp>
        <p:nvCxnSpPr>
          <p:cNvPr id="36" name="Straight Connector 35"/>
          <p:cNvCxnSpPr/>
          <p:nvPr/>
        </p:nvCxnSpPr>
        <p:spPr>
          <a:xfrm flipV="1">
            <a:off x="4835686" y="2587248"/>
            <a:ext cx="0" cy="237300"/>
          </a:xfrm>
          <a:prstGeom prst="line">
            <a:avLst/>
          </a:prstGeom>
          <a:solidFill>
            <a:schemeClr val="accent5"/>
          </a:solidFill>
          <a:ln w="38100">
            <a:solidFill>
              <a:schemeClr val="accent5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Freeform 57"/>
          <p:cNvSpPr/>
          <p:nvPr/>
        </p:nvSpPr>
        <p:spPr>
          <a:xfrm>
            <a:off x="1487871" y="3085307"/>
            <a:ext cx="1420839" cy="260757"/>
          </a:xfrm>
          <a:custGeom>
            <a:avLst/>
            <a:gdLst>
              <a:gd name="connsiteX0" fmla="*/ 0 w 2117558"/>
              <a:gd name="connsiteY0" fmla="*/ 0 h 388621"/>
              <a:gd name="connsiteX1" fmla="*/ 2117558 w 2117558"/>
              <a:gd name="connsiteY1" fmla="*/ 0 h 388621"/>
              <a:gd name="connsiteX2" fmla="*/ 2117558 w 2117558"/>
              <a:gd name="connsiteY2" fmla="*/ 282963 h 388621"/>
              <a:gd name="connsiteX3" fmla="*/ 2011900 w 2117558"/>
              <a:gd name="connsiteY3" fmla="*/ 388621 h 388621"/>
              <a:gd name="connsiteX4" fmla="*/ 105658 w 2117558"/>
              <a:gd name="connsiteY4" fmla="*/ 388621 h 388621"/>
              <a:gd name="connsiteX5" fmla="*/ 0 w 2117558"/>
              <a:gd name="connsiteY5" fmla="*/ 282963 h 388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17558" h="388621">
                <a:moveTo>
                  <a:pt x="0" y="0"/>
                </a:moveTo>
                <a:lnTo>
                  <a:pt x="2117558" y="0"/>
                </a:lnTo>
                <a:lnTo>
                  <a:pt x="2117558" y="282963"/>
                </a:lnTo>
                <a:cubicBezTo>
                  <a:pt x="2117558" y="341316"/>
                  <a:pt x="2070253" y="388621"/>
                  <a:pt x="2011900" y="388621"/>
                </a:cubicBezTo>
                <a:lnTo>
                  <a:pt x="105658" y="388621"/>
                </a:lnTo>
                <a:cubicBezTo>
                  <a:pt x="47305" y="388621"/>
                  <a:pt x="0" y="341316"/>
                  <a:pt x="0" y="28296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8090" rtlCol="0" anchor="ctr"/>
          <a:lstStyle/>
          <a:p>
            <a:pPr marL="231381" indent="-231381" defTabSz="822686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60" b="1">
                <a:solidFill>
                  <a:prstClr val="white"/>
                </a:solidFill>
                <a:latin typeface="Roboto" pitchFamily="2" charset="0"/>
                <a:ea typeface="Roboto" pitchFamily="2" charset="0"/>
              </a:rPr>
              <a:t>2021-2022</a:t>
            </a:r>
          </a:p>
        </p:txBody>
      </p:sp>
      <p:sp>
        <p:nvSpPr>
          <p:cNvPr id="59" name="Freeform 58"/>
          <p:cNvSpPr/>
          <p:nvPr/>
        </p:nvSpPr>
        <p:spPr>
          <a:xfrm>
            <a:off x="3621550" y="3085307"/>
            <a:ext cx="1420839" cy="260757"/>
          </a:xfrm>
          <a:custGeom>
            <a:avLst/>
            <a:gdLst>
              <a:gd name="connsiteX0" fmla="*/ 0 w 2117558"/>
              <a:gd name="connsiteY0" fmla="*/ 0 h 388621"/>
              <a:gd name="connsiteX1" fmla="*/ 2117558 w 2117558"/>
              <a:gd name="connsiteY1" fmla="*/ 0 h 388621"/>
              <a:gd name="connsiteX2" fmla="*/ 2117558 w 2117558"/>
              <a:gd name="connsiteY2" fmla="*/ 282963 h 388621"/>
              <a:gd name="connsiteX3" fmla="*/ 2011900 w 2117558"/>
              <a:gd name="connsiteY3" fmla="*/ 388621 h 388621"/>
              <a:gd name="connsiteX4" fmla="*/ 105658 w 2117558"/>
              <a:gd name="connsiteY4" fmla="*/ 388621 h 388621"/>
              <a:gd name="connsiteX5" fmla="*/ 0 w 2117558"/>
              <a:gd name="connsiteY5" fmla="*/ 282963 h 388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17558" h="388621">
                <a:moveTo>
                  <a:pt x="0" y="0"/>
                </a:moveTo>
                <a:lnTo>
                  <a:pt x="2117558" y="0"/>
                </a:lnTo>
                <a:lnTo>
                  <a:pt x="2117558" y="282963"/>
                </a:lnTo>
                <a:cubicBezTo>
                  <a:pt x="2117558" y="341316"/>
                  <a:pt x="2070253" y="388621"/>
                  <a:pt x="2011900" y="388621"/>
                </a:cubicBezTo>
                <a:lnTo>
                  <a:pt x="105658" y="388621"/>
                </a:lnTo>
                <a:cubicBezTo>
                  <a:pt x="47305" y="388621"/>
                  <a:pt x="0" y="341316"/>
                  <a:pt x="0" y="282963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8090" rtlCol="0" anchor="ctr"/>
          <a:lstStyle/>
          <a:p>
            <a:pPr marL="231381" indent="-231381" defTabSz="822686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60" b="1">
                <a:solidFill>
                  <a:prstClr val="white"/>
                </a:solidFill>
                <a:latin typeface="Roboto" pitchFamily="2" charset="0"/>
                <a:ea typeface="Roboto" pitchFamily="2" charset="0"/>
              </a:rPr>
              <a:t>2024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2402535" y="1863390"/>
            <a:ext cx="613544" cy="613543"/>
            <a:chOff x="4018147" y="2060538"/>
            <a:chExt cx="914400" cy="914400"/>
          </a:xfrm>
        </p:grpSpPr>
        <p:sp>
          <p:nvSpPr>
            <p:cNvPr id="27" name="Oval 26"/>
            <p:cNvSpPr/>
            <p:nvPr/>
          </p:nvSpPr>
          <p:spPr>
            <a:xfrm>
              <a:off x="4018147" y="2060538"/>
              <a:ext cx="914400" cy="9144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2268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37">
                <a:solidFill>
                  <a:prstClr val="white"/>
                </a:solidFill>
                <a:latin typeface="Roboto" pitchFamily="2" charset="0"/>
                <a:ea typeface="Roboto" pitchFamily="2" charset="0"/>
              </a:endParaRPr>
            </a:p>
          </p:txBody>
        </p:sp>
        <p:sp>
          <p:nvSpPr>
            <p:cNvPr id="41" name="Freeform 35"/>
            <p:cNvSpPr>
              <a:spLocks noEditPoints="1"/>
            </p:cNvSpPr>
            <p:nvPr/>
          </p:nvSpPr>
          <p:spPr bwMode="auto">
            <a:xfrm>
              <a:off x="4269772" y="2329903"/>
              <a:ext cx="411152" cy="375670"/>
            </a:xfrm>
            <a:custGeom>
              <a:avLst/>
              <a:gdLst>
                <a:gd name="T0" fmla="*/ 32 w 485"/>
                <a:gd name="T1" fmla="*/ 440 h 440"/>
                <a:gd name="T2" fmla="*/ 453 w 485"/>
                <a:gd name="T3" fmla="*/ 440 h 440"/>
                <a:gd name="T4" fmla="*/ 485 w 485"/>
                <a:gd name="T5" fmla="*/ 409 h 440"/>
                <a:gd name="T6" fmla="*/ 485 w 485"/>
                <a:gd name="T7" fmla="*/ 113 h 440"/>
                <a:gd name="T8" fmla="*/ 453 w 485"/>
                <a:gd name="T9" fmla="*/ 81 h 440"/>
                <a:gd name="T10" fmla="*/ 346 w 485"/>
                <a:gd name="T11" fmla="*/ 81 h 440"/>
                <a:gd name="T12" fmla="*/ 346 w 485"/>
                <a:gd name="T13" fmla="*/ 44 h 440"/>
                <a:gd name="T14" fmla="*/ 302 w 485"/>
                <a:gd name="T15" fmla="*/ 0 h 440"/>
                <a:gd name="T16" fmla="*/ 189 w 485"/>
                <a:gd name="T17" fmla="*/ 0 h 440"/>
                <a:gd name="T18" fmla="*/ 145 w 485"/>
                <a:gd name="T19" fmla="*/ 44 h 440"/>
                <a:gd name="T20" fmla="*/ 145 w 485"/>
                <a:gd name="T21" fmla="*/ 81 h 440"/>
                <a:gd name="T22" fmla="*/ 32 w 485"/>
                <a:gd name="T23" fmla="*/ 81 h 440"/>
                <a:gd name="T24" fmla="*/ 0 w 485"/>
                <a:gd name="T25" fmla="*/ 113 h 440"/>
                <a:gd name="T26" fmla="*/ 0 w 485"/>
                <a:gd name="T27" fmla="*/ 409 h 440"/>
                <a:gd name="T28" fmla="*/ 32 w 485"/>
                <a:gd name="T29" fmla="*/ 440 h 440"/>
                <a:gd name="T30" fmla="*/ 38 w 485"/>
                <a:gd name="T31" fmla="*/ 402 h 440"/>
                <a:gd name="T32" fmla="*/ 38 w 485"/>
                <a:gd name="T33" fmla="*/ 226 h 440"/>
                <a:gd name="T34" fmla="*/ 447 w 485"/>
                <a:gd name="T35" fmla="*/ 226 h 440"/>
                <a:gd name="T36" fmla="*/ 447 w 485"/>
                <a:gd name="T37" fmla="*/ 402 h 440"/>
                <a:gd name="T38" fmla="*/ 38 w 485"/>
                <a:gd name="T39" fmla="*/ 402 h 440"/>
                <a:gd name="T40" fmla="*/ 183 w 485"/>
                <a:gd name="T41" fmla="*/ 44 h 440"/>
                <a:gd name="T42" fmla="*/ 189 w 485"/>
                <a:gd name="T43" fmla="*/ 37 h 440"/>
                <a:gd name="T44" fmla="*/ 302 w 485"/>
                <a:gd name="T45" fmla="*/ 37 h 440"/>
                <a:gd name="T46" fmla="*/ 309 w 485"/>
                <a:gd name="T47" fmla="*/ 44 h 440"/>
                <a:gd name="T48" fmla="*/ 309 w 485"/>
                <a:gd name="T49" fmla="*/ 81 h 440"/>
                <a:gd name="T50" fmla="*/ 183 w 485"/>
                <a:gd name="T51" fmla="*/ 81 h 440"/>
                <a:gd name="T52" fmla="*/ 183 w 485"/>
                <a:gd name="T53" fmla="*/ 44 h 440"/>
                <a:gd name="T54" fmla="*/ 447 w 485"/>
                <a:gd name="T55" fmla="*/ 119 h 440"/>
                <a:gd name="T56" fmla="*/ 447 w 485"/>
                <a:gd name="T57" fmla="*/ 188 h 440"/>
                <a:gd name="T58" fmla="*/ 38 w 485"/>
                <a:gd name="T59" fmla="*/ 188 h 440"/>
                <a:gd name="T60" fmla="*/ 38 w 485"/>
                <a:gd name="T61" fmla="*/ 119 h 440"/>
                <a:gd name="T62" fmla="*/ 447 w 485"/>
                <a:gd name="T63" fmla="*/ 119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5" h="440">
                  <a:moveTo>
                    <a:pt x="32" y="440"/>
                  </a:moveTo>
                  <a:cubicBezTo>
                    <a:pt x="453" y="440"/>
                    <a:pt x="453" y="440"/>
                    <a:pt x="453" y="440"/>
                  </a:cubicBezTo>
                  <a:cubicBezTo>
                    <a:pt x="471" y="440"/>
                    <a:pt x="485" y="426"/>
                    <a:pt x="485" y="409"/>
                  </a:cubicBezTo>
                  <a:cubicBezTo>
                    <a:pt x="485" y="113"/>
                    <a:pt x="485" y="113"/>
                    <a:pt x="485" y="113"/>
                  </a:cubicBezTo>
                  <a:cubicBezTo>
                    <a:pt x="485" y="96"/>
                    <a:pt x="471" y="81"/>
                    <a:pt x="453" y="81"/>
                  </a:cubicBezTo>
                  <a:cubicBezTo>
                    <a:pt x="346" y="81"/>
                    <a:pt x="346" y="81"/>
                    <a:pt x="346" y="81"/>
                  </a:cubicBezTo>
                  <a:cubicBezTo>
                    <a:pt x="346" y="44"/>
                    <a:pt x="346" y="44"/>
                    <a:pt x="346" y="44"/>
                  </a:cubicBezTo>
                  <a:cubicBezTo>
                    <a:pt x="346" y="19"/>
                    <a:pt x="327" y="0"/>
                    <a:pt x="302" y="0"/>
                  </a:cubicBezTo>
                  <a:cubicBezTo>
                    <a:pt x="189" y="0"/>
                    <a:pt x="189" y="0"/>
                    <a:pt x="189" y="0"/>
                  </a:cubicBezTo>
                  <a:cubicBezTo>
                    <a:pt x="165" y="0"/>
                    <a:pt x="145" y="19"/>
                    <a:pt x="145" y="44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14" y="81"/>
                    <a:pt x="0" y="96"/>
                    <a:pt x="0" y="113"/>
                  </a:cubicBezTo>
                  <a:cubicBezTo>
                    <a:pt x="0" y="409"/>
                    <a:pt x="0" y="409"/>
                    <a:pt x="0" y="409"/>
                  </a:cubicBezTo>
                  <a:cubicBezTo>
                    <a:pt x="0" y="426"/>
                    <a:pt x="14" y="440"/>
                    <a:pt x="32" y="440"/>
                  </a:cubicBezTo>
                  <a:close/>
                  <a:moveTo>
                    <a:pt x="38" y="402"/>
                  </a:moveTo>
                  <a:cubicBezTo>
                    <a:pt x="38" y="226"/>
                    <a:pt x="38" y="226"/>
                    <a:pt x="38" y="226"/>
                  </a:cubicBezTo>
                  <a:cubicBezTo>
                    <a:pt x="447" y="226"/>
                    <a:pt x="447" y="226"/>
                    <a:pt x="447" y="226"/>
                  </a:cubicBezTo>
                  <a:cubicBezTo>
                    <a:pt x="447" y="402"/>
                    <a:pt x="447" y="402"/>
                    <a:pt x="447" y="402"/>
                  </a:cubicBezTo>
                  <a:lnTo>
                    <a:pt x="38" y="402"/>
                  </a:lnTo>
                  <a:close/>
                  <a:moveTo>
                    <a:pt x="183" y="44"/>
                  </a:moveTo>
                  <a:cubicBezTo>
                    <a:pt x="183" y="40"/>
                    <a:pt x="186" y="37"/>
                    <a:pt x="189" y="37"/>
                  </a:cubicBezTo>
                  <a:cubicBezTo>
                    <a:pt x="302" y="37"/>
                    <a:pt x="302" y="37"/>
                    <a:pt x="302" y="37"/>
                  </a:cubicBezTo>
                  <a:cubicBezTo>
                    <a:pt x="306" y="37"/>
                    <a:pt x="309" y="40"/>
                    <a:pt x="309" y="44"/>
                  </a:cubicBezTo>
                  <a:cubicBezTo>
                    <a:pt x="309" y="81"/>
                    <a:pt x="309" y="81"/>
                    <a:pt x="309" y="81"/>
                  </a:cubicBezTo>
                  <a:cubicBezTo>
                    <a:pt x="183" y="81"/>
                    <a:pt x="183" y="81"/>
                    <a:pt x="183" y="81"/>
                  </a:cubicBezTo>
                  <a:lnTo>
                    <a:pt x="183" y="44"/>
                  </a:lnTo>
                  <a:close/>
                  <a:moveTo>
                    <a:pt x="447" y="119"/>
                  </a:moveTo>
                  <a:cubicBezTo>
                    <a:pt x="447" y="188"/>
                    <a:pt x="447" y="188"/>
                    <a:pt x="447" y="188"/>
                  </a:cubicBezTo>
                  <a:cubicBezTo>
                    <a:pt x="38" y="188"/>
                    <a:pt x="38" y="188"/>
                    <a:pt x="38" y="188"/>
                  </a:cubicBezTo>
                  <a:cubicBezTo>
                    <a:pt x="38" y="119"/>
                    <a:pt x="38" y="119"/>
                    <a:pt x="38" y="119"/>
                  </a:cubicBezTo>
                  <a:lnTo>
                    <a:pt x="447" y="1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74045" tIns="37022" rIns="74045" bIns="37022" numCol="1" anchor="t" anchorCtr="0" compatLnSpc="1">
              <a:prstTxWarp prst="textNoShape">
                <a:avLst/>
              </a:prstTxWarp>
            </a:bodyPr>
            <a:lstStyle/>
            <a:p>
              <a:pPr defTabSz="82268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37">
                <a:solidFill>
                  <a:prstClr val="black"/>
                </a:solidFill>
                <a:latin typeface="Roboto" pitchFamily="2" charset="0"/>
                <a:ea typeface="Roboto" pitchFamily="2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2451007" y="3693680"/>
            <a:ext cx="613544" cy="613543"/>
            <a:chOff x="4090386" y="4788328"/>
            <a:chExt cx="914400" cy="914400"/>
          </a:xfrm>
        </p:grpSpPr>
        <p:sp>
          <p:nvSpPr>
            <p:cNvPr id="23" name="Oval 22"/>
            <p:cNvSpPr/>
            <p:nvPr/>
          </p:nvSpPr>
          <p:spPr>
            <a:xfrm flipV="1">
              <a:off x="4090386" y="4788328"/>
              <a:ext cx="914400" cy="9144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2268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37">
                <a:solidFill>
                  <a:prstClr val="white"/>
                </a:solidFill>
                <a:latin typeface="Roboto" pitchFamily="2" charset="0"/>
                <a:ea typeface="Roboto" pitchFamily="2" charset="0"/>
              </a:endParaRPr>
            </a:p>
          </p:txBody>
        </p:sp>
        <p:sp>
          <p:nvSpPr>
            <p:cNvPr id="42" name="Freeform 40"/>
            <p:cNvSpPr>
              <a:spLocks noEditPoints="1"/>
            </p:cNvSpPr>
            <p:nvPr/>
          </p:nvSpPr>
          <p:spPr bwMode="auto">
            <a:xfrm>
              <a:off x="4340966" y="5039954"/>
              <a:ext cx="413240" cy="411150"/>
            </a:xfrm>
            <a:custGeom>
              <a:avLst/>
              <a:gdLst>
                <a:gd name="T0" fmla="*/ 214 w 487"/>
                <a:gd name="T1" fmla="*/ 426 h 484"/>
                <a:gd name="T2" fmla="*/ 352 w 487"/>
                <a:gd name="T3" fmla="*/ 376 h 484"/>
                <a:gd name="T4" fmla="*/ 455 w 487"/>
                <a:gd name="T5" fmla="*/ 478 h 484"/>
                <a:gd name="T6" fmla="*/ 468 w 487"/>
                <a:gd name="T7" fmla="*/ 484 h 484"/>
                <a:gd name="T8" fmla="*/ 480 w 487"/>
                <a:gd name="T9" fmla="*/ 478 h 484"/>
                <a:gd name="T10" fmla="*/ 480 w 487"/>
                <a:gd name="T11" fmla="*/ 454 h 484"/>
                <a:gd name="T12" fmla="*/ 377 w 487"/>
                <a:gd name="T13" fmla="*/ 351 h 484"/>
                <a:gd name="T14" fmla="*/ 428 w 487"/>
                <a:gd name="T15" fmla="*/ 213 h 484"/>
                <a:gd name="T16" fmla="*/ 214 w 487"/>
                <a:gd name="T17" fmla="*/ 0 h 484"/>
                <a:gd name="T18" fmla="*/ 0 w 487"/>
                <a:gd name="T19" fmla="*/ 213 h 484"/>
                <a:gd name="T20" fmla="*/ 214 w 487"/>
                <a:gd name="T21" fmla="*/ 426 h 484"/>
                <a:gd name="T22" fmla="*/ 214 w 487"/>
                <a:gd name="T23" fmla="*/ 35 h 484"/>
                <a:gd name="T24" fmla="*/ 393 w 487"/>
                <a:gd name="T25" fmla="*/ 213 h 484"/>
                <a:gd name="T26" fmla="*/ 341 w 487"/>
                <a:gd name="T27" fmla="*/ 339 h 484"/>
                <a:gd name="T28" fmla="*/ 340 w 487"/>
                <a:gd name="T29" fmla="*/ 339 h 484"/>
                <a:gd name="T30" fmla="*/ 340 w 487"/>
                <a:gd name="T31" fmla="*/ 340 h 484"/>
                <a:gd name="T32" fmla="*/ 214 w 487"/>
                <a:gd name="T33" fmla="*/ 391 h 484"/>
                <a:gd name="T34" fmla="*/ 35 w 487"/>
                <a:gd name="T35" fmla="*/ 213 h 484"/>
                <a:gd name="T36" fmla="*/ 214 w 487"/>
                <a:gd name="T37" fmla="*/ 35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7" h="484">
                  <a:moveTo>
                    <a:pt x="214" y="426"/>
                  </a:moveTo>
                  <a:cubicBezTo>
                    <a:pt x="267" y="426"/>
                    <a:pt x="315" y="407"/>
                    <a:pt x="352" y="376"/>
                  </a:cubicBezTo>
                  <a:cubicBezTo>
                    <a:pt x="455" y="478"/>
                    <a:pt x="455" y="478"/>
                    <a:pt x="455" y="478"/>
                  </a:cubicBezTo>
                  <a:cubicBezTo>
                    <a:pt x="459" y="482"/>
                    <a:pt x="463" y="484"/>
                    <a:pt x="468" y="484"/>
                  </a:cubicBezTo>
                  <a:cubicBezTo>
                    <a:pt x="472" y="484"/>
                    <a:pt x="477" y="482"/>
                    <a:pt x="480" y="478"/>
                  </a:cubicBezTo>
                  <a:cubicBezTo>
                    <a:pt x="487" y="472"/>
                    <a:pt x="487" y="460"/>
                    <a:pt x="480" y="454"/>
                  </a:cubicBezTo>
                  <a:cubicBezTo>
                    <a:pt x="377" y="351"/>
                    <a:pt x="377" y="351"/>
                    <a:pt x="377" y="351"/>
                  </a:cubicBezTo>
                  <a:cubicBezTo>
                    <a:pt x="409" y="314"/>
                    <a:pt x="428" y="266"/>
                    <a:pt x="428" y="213"/>
                  </a:cubicBezTo>
                  <a:cubicBezTo>
                    <a:pt x="428" y="96"/>
                    <a:pt x="332" y="0"/>
                    <a:pt x="214" y="0"/>
                  </a:cubicBezTo>
                  <a:cubicBezTo>
                    <a:pt x="96" y="0"/>
                    <a:pt x="0" y="96"/>
                    <a:pt x="0" y="213"/>
                  </a:cubicBezTo>
                  <a:cubicBezTo>
                    <a:pt x="0" y="331"/>
                    <a:pt x="96" y="426"/>
                    <a:pt x="214" y="426"/>
                  </a:cubicBezTo>
                  <a:close/>
                  <a:moveTo>
                    <a:pt x="214" y="35"/>
                  </a:moveTo>
                  <a:cubicBezTo>
                    <a:pt x="313" y="35"/>
                    <a:pt x="393" y="115"/>
                    <a:pt x="393" y="213"/>
                  </a:cubicBezTo>
                  <a:cubicBezTo>
                    <a:pt x="393" y="262"/>
                    <a:pt x="373" y="306"/>
                    <a:pt x="341" y="339"/>
                  </a:cubicBezTo>
                  <a:cubicBezTo>
                    <a:pt x="341" y="339"/>
                    <a:pt x="340" y="339"/>
                    <a:pt x="340" y="339"/>
                  </a:cubicBezTo>
                  <a:cubicBezTo>
                    <a:pt x="340" y="339"/>
                    <a:pt x="340" y="340"/>
                    <a:pt x="340" y="340"/>
                  </a:cubicBezTo>
                  <a:cubicBezTo>
                    <a:pt x="307" y="372"/>
                    <a:pt x="263" y="391"/>
                    <a:pt x="214" y="391"/>
                  </a:cubicBezTo>
                  <a:cubicBezTo>
                    <a:pt x="116" y="391"/>
                    <a:pt x="35" y="311"/>
                    <a:pt x="35" y="213"/>
                  </a:cubicBezTo>
                  <a:cubicBezTo>
                    <a:pt x="35" y="115"/>
                    <a:pt x="116" y="35"/>
                    <a:pt x="214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74045" tIns="37022" rIns="74045" bIns="37022" numCol="1" anchor="t" anchorCtr="0" compatLnSpc="1">
              <a:prstTxWarp prst="textNoShape">
                <a:avLst/>
              </a:prstTxWarp>
            </a:bodyPr>
            <a:lstStyle/>
            <a:p>
              <a:pPr defTabSz="82268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37">
                <a:solidFill>
                  <a:prstClr val="black"/>
                </a:solidFill>
                <a:latin typeface="Roboto" pitchFamily="2" charset="0"/>
                <a:ea typeface="Roboto" pitchFamily="2" charset="0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4584685" y="3693680"/>
            <a:ext cx="613544" cy="613543"/>
            <a:chOff x="7270333" y="4788328"/>
            <a:chExt cx="914400" cy="914400"/>
          </a:xfrm>
        </p:grpSpPr>
        <p:sp>
          <p:nvSpPr>
            <p:cNvPr id="31" name="Oval 30"/>
            <p:cNvSpPr/>
            <p:nvPr/>
          </p:nvSpPr>
          <p:spPr>
            <a:xfrm flipV="1">
              <a:off x="7270333" y="4788328"/>
              <a:ext cx="914400" cy="9144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2268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37">
                <a:solidFill>
                  <a:prstClr val="white"/>
                </a:solidFill>
                <a:latin typeface="Roboto" pitchFamily="2" charset="0"/>
                <a:ea typeface="Roboto" pitchFamily="2" charset="0"/>
              </a:endParaRPr>
            </a:p>
          </p:txBody>
        </p:sp>
        <p:sp>
          <p:nvSpPr>
            <p:cNvPr id="61" name="Freeform 46"/>
            <p:cNvSpPr>
              <a:spLocks noEditPoints="1"/>
            </p:cNvSpPr>
            <p:nvPr/>
          </p:nvSpPr>
          <p:spPr bwMode="auto">
            <a:xfrm>
              <a:off x="7544916" y="5038911"/>
              <a:ext cx="365234" cy="413234"/>
            </a:xfrm>
            <a:custGeom>
              <a:avLst/>
              <a:gdLst>
                <a:gd name="T0" fmla="*/ 429 w 429"/>
                <a:gd name="T1" fmla="*/ 101 h 485"/>
                <a:gd name="T2" fmla="*/ 239 w 429"/>
                <a:gd name="T3" fmla="*/ 85 h 485"/>
                <a:gd name="T4" fmla="*/ 224 w 429"/>
                <a:gd name="T5" fmla="*/ 0 h 485"/>
                <a:gd name="T6" fmla="*/ 138 w 429"/>
                <a:gd name="T7" fmla="*/ 15 h 485"/>
                <a:gd name="T8" fmla="*/ 118 w 429"/>
                <a:gd name="T9" fmla="*/ 84 h 485"/>
                <a:gd name="T10" fmla="*/ 103 w 429"/>
                <a:gd name="T11" fmla="*/ 27 h 485"/>
                <a:gd name="T12" fmla="*/ 0 w 429"/>
                <a:gd name="T13" fmla="*/ 76 h 485"/>
                <a:gd name="T14" fmla="*/ 0 w 429"/>
                <a:gd name="T15" fmla="*/ 77 h 485"/>
                <a:gd name="T16" fmla="*/ 0 w 429"/>
                <a:gd name="T17" fmla="*/ 309 h 485"/>
                <a:gd name="T18" fmla="*/ 0 w 429"/>
                <a:gd name="T19" fmla="*/ 327 h 485"/>
                <a:gd name="T20" fmla="*/ 257 w 429"/>
                <a:gd name="T21" fmla="*/ 377 h 485"/>
                <a:gd name="T22" fmla="*/ 273 w 429"/>
                <a:gd name="T23" fmla="*/ 485 h 485"/>
                <a:gd name="T24" fmla="*/ 381 w 429"/>
                <a:gd name="T25" fmla="*/ 469 h 485"/>
                <a:gd name="T26" fmla="*/ 414 w 429"/>
                <a:gd name="T27" fmla="*/ 377 h 485"/>
                <a:gd name="T28" fmla="*/ 169 w 429"/>
                <a:gd name="T29" fmla="*/ 86 h 485"/>
                <a:gd name="T30" fmla="*/ 209 w 429"/>
                <a:gd name="T31" fmla="*/ 236 h 485"/>
                <a:gd name="T32" fmla="*/ 169 w 429"/>
                <a:gd name="T33" fmla="*/ 236 h 485"/>
                <a:gd name="T34" fmla="*/ 209 w 429"/>
                <a:gd name="T35" fmla="*/ 30 h 485"/>
                <a:gd name="T36" fmla="*/ 169 w 429"/>
                <a:gd name="T37" fmla="*/ 55 h 485"/>
                <a:gd name="T38" fmla="*/ 209 w 429"/>
                <a:gd name="T39" fmla="*/ 30 h 485"/>
                <a:gd name="T40" fmla="*/ 50 w 429"/>
                <a:gd name="T41" fmla="*/ 57 h 485"/>
                <a:gd name="T42" fmla="*/ 88 w 429"/>
                <a:gd name="T43" fmla="*/ 259 h 485"/>
                <a:gd name="T44" fmla="*/ 30 w 429"/>
                <a:gd name="T45" fmla="*/ 263 h 485"/>
                <a:gd name="T46" fmla="*/ 30 w 429"/>
                <a:gd name="T47" fmla="*/ 77 h 485"/>
                <a:gd name="T48" fmla="*/ 334 w 429"/>
                <a:gd name="T49" fmla="*/ 217 h 485"/>
                <a:gd name="T50" fmla="*/ 334 w 429"/>
                <a:gd name="T51" fmla="*/ 248 h 485"/>
                <a:gd name="T52" fmla="*/ 350 w 429"/>
                <a:gd name="T53" fmla="*/ 264 h 485"/>
                <a:gd name="T54" fmla="*/ 319 w 429"/>
                <a:gd name="T55" fmla="*/ 279 h 485"/>
                <a:gd name="T56" fmla="*/ 350 w 429"/>
                <a:gd name="T57" fmla="*/ 294 h 485"/>
                <a:gd name="T58" fmla="*/ 334 w 429"/>
                <a:gd name="T59" fmla="*/ 310 h 485"/>
                <a:gd name="T60" fmla="*/ 334 w 429"/>
                <a:gd name="T61" fmla="*/ 340 h 485"/>
                <a:gd name="T62" fmla="*/ 350 w 429"/>
                <a:gd name="T63" fmla="*/ 356 h 485"/>
                <a:gd name="T64" fmla="*/ 319 w 429"/>
                <a:gd name="T65" fmla="*/ 371 h 485"/>
                <a:gd name="T66" fmla="*/ 350 w 429"/>
                <a:gd name="T67" fmla="*/ 386 h 485"/>
                <a:gd name="T68" fmla="*/ 319 w 429"/>
                <a:gd name="T69" fmla="*/ 391 h 485"/>
                <a:gd name="T70" fmla="*/ 288 w 429"/>
                <a:gd name="T71" fmla="*/ 195 h 485"/>
                <a:gd name="T72" fmla="*/ 350 w 429"/>
                <a:gd name="T73" fmla="*/ 217 h 485"/>
                <a:gd name="T74" fmla="*/ 319 w 429"/>
                <a:gd name="T75" fmla="*/ 424 h 485"/>
                <a:gd name="T76" fmla="*/ 319 w 429"/>
                <a:gd name="T77" fmla="*/ 421 h 485"/>
                <a:gd name="T78" fmla="*/ 319 w 429"/>
                <a:gd name="T79" fmla="*/ 454 h 485"/>
                <a:gd name="T80" fmla="*/ 288 w 429"/>
                <a:gd name="T81" fmla="*/ 428 h 485"/>
                <a:gd name="T82" fmla="*/ 350 w 429"/>
                <a:gd name="T83" fmla="*/ 428 h 485"/>
                <a:gd name="T84" fmla="*/ 319 w 429"/>
                <a:gd name="T85" fmla="*/ 454 h 485"/>
                <a:gd name="T86" fmla="*/ 381 w 429"/>
                <a:gd name="T87" fmla="*/ 347 h 485"/>
                <a:gd name="T88" fmla="*/ 365 w 429"/>
                <a:gd name="T89" fmla="*/ 165 h 485"/>
                <a:gd name="T90" fmla="*/ 257 w 429"/>
                <a:gd name="T91" fmla="*/ 180 h 485"/>
                <a:gd name="T92" fmla="*/ 50 w 429"/>
                <a:gd name="T93" fmla="*/ 347 h 485"/>
                <a:gd name="T94" fmla="*/ 30 w 429"/>
                <a:gd name="T95" fmla="*/ 309 h 485"/>
                <a:gd name="T96" fmla="*/ 103 w 429"/>
                <a:gd name="T97" fmla="*/ 290 h 485"/>
                <a:gd name="T98" fmla="*/ 118 w 429"/>
                <a:gd name="T99" fmla="*/ 114 h 485"/>
                <a:gd name="T100" fmla="*/ 138 w 429"/>
                <a:gd name="T101" fmla="*/ 241 h 485"/>
                <a:gd name="T102" fmla="*/ 176 w 429"/>
                <a:gd name="T103" fmla="*/ 307 h 485"/>
                <a:gd name="T104" fmla="*/ 202 w 429"/>
                <a:gd name="T105" fmla="*/ 307 h 485"/>
                <a:gd name="T106" fmla="*/ 239 w 429"/>
                <a:gd name="T107" fmla="*/ 241 h 485"/>
                <a:gd name="T108" fmla="*/ 399 w 429"/>
                <a:gd name="T109" fmla="*/ 116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29" h="485">
                  <a:moveTo>
                    <a:pt x="429" y="362"/>
                  </a:moveTo>
                  <a:cubicBezTo>
                    <a:pt x="429" y="101"/>
                    <a:pt x="429" y="101"/>
                    <a:pt x="429" y="101"/>
                  </a:cubicBezTo>
                  <a:cubicBezTo>
                    <a:pt x="429" y="92"/>
                    <a:pt x="422" y="86"/>
                    <a:pt x="414" y="86"/>
                  </a:cubicBezTo>
                  <a:cubicBezTo>
                    <a:pt x="239" y="85"/>
                    <a:pt x="239" y="85"/>
                    <a:pt x="239" y="85"/>
                  </a:cubicBezTo>
                  <a:cubicBezTo>
                    <a:pt x="239" y="15"/>
                    <a:pt x="239" y="15"/>
                    <a:pt x="239" y="15"/>
                  </a:cubicBezTo>
                  <a:cubicBezTo>
                    <a:pt x="239" y="7"/>
                    <a:pt x="232" y="0"/>
                    <a:pt x="224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45" y="0"/>
                    <a:pt x="138" y="7"/>
                    <a:pt x="138" y="15"/>
                  </a:cubicBezTo>
                  <a:cubicBezTo>
                    <a:pt x="138" y="84"/>
                    <a:pt x="138" y="84"/>
                    <a:pt x="138" y="8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8" y="34"/>
                    <a:pt x="111" y="27"/>
                    <a:pt x="103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23" y="27"/>
                    <a:pt x="1" y="49"/>
                    <a:pt x="0" y="7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27"/>
                    <a:pt x="0" y="327"/>
                    <a:pt x="0" y="327"/>
                  </a:cubicBezTo>
                  <a:cubicBezTo>
                    <a:pt x="0" y="327"/>
                    <a:pt x="0" y="327"/>
                    <a:pt x="0" y="327"/>
                  </a:cubicBezTo>
                  <a:cubicBezTo>
                    <a:pt x="0" y="355"/>
                    <a:pt x="22" y="377"/>
                    <a:pt x="50" y="377"/>
                  </a:cubicBezTo>
                  <a:cubicBezTo>
                    <a:pt x="257" y="377"/>
                    <a:pt x="257" y="377"/>
                    <a:pt x="257" y="377"/>
                  </a:cubicBezTo>
                  <a:cubicBezTo>
                    <a:pt x="257" y="469"/>
                    <a:pt x="257" y="469"/>
                    <a:pt x="257" y="469"/>
                  </a:cubicBezTo>
                  <a:cubicBezTo>
                    <a:pt x="257" y="478"/>
                    <a:pt x="264" y="485"/>
                    <a:pt x="273" y="485"/>
                  </a:cubicBezTo>
                  <a:cubicBezTo>
                    <a:pt x="365" y="485"/>
                    <a:pt x="365" y="485"/>
                    <a:pt x="365" y="485"/>
                  </a:cubicBezTo>
                  <a:cubicBezTo>
                    <a:pt x="374" y="485"/>
                    <a:pt x="381" y="478"/>
                    <a:pt x="381" y="469"/>
                  </a:cubicBezTo>
                  <a:cubicBezTo>
                    <a:pt x="381" y="377"/>
                    <a:pt x="381" y="377"/>
                    <a:pt x="381" y="377"/>
                  </a:cubicBezTo>
                  <a:cubicBezTo>
                    <a:pt x="414" y="377"/>
                    <a:pt x="414" y="377"/>
                    <a:pt x="414" y="377"/>
                  </a:cubicBezTo>
                  <a:cubicBezTo>
                    <a:pt x="422" y="377"/>
                    <a:pt x="429" y="371"/>
                    <a:pt x="429" y="362"/>
                  </a:cubicBezTo>
                  <a:close/>
                  <a:moveTo>
                    <a:pt x="169" y="86"/>
                  </a:moveTo>
                  <a:cubicBezTo>
                    <a:pt x="209" y="86"/>
                    <a:pt x="209" y="86"/>
                    <a:pt x="209" y="86"/>
                  </a:cubicBezTo>
                  <a:cubicBezTo>
                    <a:pt x="209" y="236"/>
                    <a:pt x="209" y="236"/>
                    <a:pt x="209" y="236"/>
                  </a:cubicBezTo>
                  <a:cubicBezTo>
                    <a:pt x="189" y="270"/>
                    <a:pt x="189" y="270"/>
                    <a:pt x="189" y="270"/>
                  </a:cubicBezTo>
                  <a:cubicBezTo>
                    <a:pt x="169" y="236"/>
                    <a:pt x="169" y="236"/>
                    <a:pt x="169" y="236"/>
                  </a:cubicBezTo>
                  <a:lnTo>
                    <a:pt x="169" y="86"/>
                  </a:lnTo>
                  <a:close/>
                  <a:moveTo>
                    <a:pt x="209" y="30"/>
                  </a:moveTo>
                  <a:cubicBezTo>
                    <a:pt x="209" y="55"/>
                    <a:pt x="209" y="55"/>
                    <a:pt x="209" y="55"/>
                  </a:cubicBezTo>
                  <a:cubicBezTo>
                    <a:pt x="169" y="55"/>
                    <a:pt x="169" y="55"/>
                    <a:pt x="169" y="55"/>
                  </a:cubicBezTo>
                  <a:cubicBezTo>
                    <a:pt x="169" y="30"/>
                    <a:pt x="169" y="30"/>
                    <a:pt x="169" y="30"/>
                  </a:cubicBezTo>
                  <a:lnTo>
                    <a:pt x="209" y="30"/>
                  </a:lnTo>
                  <a:close/>
                  <a:moveTo>
                    <a:pt x="30" y="77"/>
                  </a:moveTo>
                  <a:cubicBezTo>
                    <a:pt x="30" y="66"/>
                    <a:pt x="39" y="57"/>
                    <a:pt x="50" y="57"/>
                  </a:cubicBezTo>
                  <a:cubicBezTo>
                    <a:pt x="88" y="57"/>
                    <a:pt x="88" y="57"/>
                    <a:pt x="88" y="57"/>
                  </a:cubicBezTo>
                  <a:cubicBezTo>
                    <a:pt x="88" y="259"/>
                    <a:pt x="88" y="259"/>
                    <a:pt x="88" y="259"/>
                  </a:cubicBezTo>
                  <a:cubicBezTo>
                    <a:pt x="50" y="259"/>
                    <a:pt x="50" y="259"/>
                    <a:pt x="50" y="259"/>
                  </a:cubicBezTo>
                  <a:cubicBezTo>
                    <a:pt x="43" y="259"/>
                    <a:pt x="36" y="261"/>
                    <a:pt x="30" y="263"/>
                  </a:cubicBezTo>
                  <a:cubicBezTo>
                    <a:pt x="30" y="84"/>
                    <a:pt x="30" y="84"/>
                    <a:pt x="30" y="84"/>
                  </a:cubicBezTo>
                  <a:lnTo>
                    <a:pt x="30" y="77"/>
                  </a:lnTo>
                  <a:close/>
                  <a:moveTo>
                    <a:pt x="350" y="217"/>
                  </a:moveTo>
                  <a:cubicBezTo>
                    <a:pt x="334" y="217"/>
                    <a:pt x="334" y="217"/>
                    <a:pt x="334" y="217"/>
                  </a:cubicBezTo>
                  <a:cubicBezTo>
                    <a:pt x="326" y="217"/>
                    <a:pt x="319" y="224"/>
                    <a:pt x="319" y="233"/>
                  </a:cubicBezTo>
                  <a:cubicBezTo>
                    <a:pt x="319" y="241"/>
                    <a:pt x="326" y="248"/>
                    <a:pt x="334" y="248"/>
                  </a:cubicBezTo>
                  <a:cubicBezTo>
                    <a:pt x="350" y="248"/>
                    <a:pt x="350" y="248"/>
                    <a:pt x="350" y="248"/>
                  </a:cubicBezTo>
                  <a:cubicBezTo>
                    <a:pt x="350" y="264"/>
                    <a:pt x="350" y="264"/>
                    <a:pt x="350" y="264"/>
                  </a:cubicBezTo>
                  <a:cubicBezTo>
                    <a:pt x="334" y="264"/>
                    <a:pt x="334" y="264"/>
                    <a:pt x="334" y="264"/>
                  </a:cubicBezTo>
                  <a:cubicBezTo>
                    <a:pt x="326" y="264"/>
                    <a:pt x="319" y="271"/>
                    <a:pt x="319" y="279"/>
                  </a:cubicBezTo>
                  <a:cubicBezTo>
                    <a:pt x="319" y="287"/>
                    <a:pt x="326" y="294"/>
                    <a:pt x="334" y="294"/>
                  </a:cubicBezTo>
                  <a:cubicBezTo>
                    <a:pt x="350" y="294"/>
                    <a:pt x="350" y="294"/>
                    <a:pt x="350" y="294"/>
                  </a:cubicBezTo>
                  <a:cubicBezTo>
                    <a:pt x="350" y="310"/>
                    <a:pt x="350" y="310"/>
                    <a:pt x="350" y="310"/>
                  </a:cubicBezTo>
                  <a:cubicBezTo>
                    <a:pt x="334" y="310"/>
                    <a:pt x="334" y="310"/>
                    <a:pt x="334" y="310"/>
                  </a:cubicBezTo>
                  <a:cubicBezTo>
                    <a:pt x="326" y="310"/>
                    <a:pt x="319" y="317"/>
                    <a:pt x="319" y="325"/>
                  </a:cubicBezTo>
                  <a:cubicBezTo>
                    <a:pt x="319" y="333"/>
                    <a:pt x="326" y="340"/>
                    <a:pt x="334" y="340"/>
                  </a:cubicBezTo>
                  <a:cubicBezTo>
                    <a:pt x="350" y="340"/>
                    <a:pt x="350" y="340"/>
                    <a:pt x="350" y="340"/>
                  </a:cubicBezTo>
                  <a:cubicBezTo>
                    <a:pt x="350" y="356"/>
                    <a:pt x="350" y="356"/>
                    <a:pt x="350" y="356"/>
                  </a:cubicBezTo>
                  <a:cubicBezTo>
                    <a:pt x="334" y="356"/>
                    <a:pt x="334" y="356"/>
                    <a:pt x="334" y="356"/>
                  </a:cubicBezTo>
                  <a:cubicBezTo>
                    <a:pt x="326" y="356"/>
                    <a:pt x="319" y="363"/>
                    <a:pt x="319" y="371"/>
                  </a:cubicBezTo>
                  <a:cubicBezTo>
                    <a:pt x="319" y="379"/>
                    <a:pt x="326" y="386"/>
                    <a:pt x="334" y="386"/>
                  </a:cubicBezTo>
                  <a:cubicBezTo>
                    <a:pt x="350" y="386"/>
                    <a:pt x="350" y="386"/>
                    <a:pt x="350" y="386"/>
                  </a:cubicBezTo>
                  <a:cubicBezTo>
                    <a:pt x="350" y="417"/>
                    <a:pt x="350" y="417"/>
                    <a:pt x="350" y="417"/>
                  </a:cubicBezTo>
                  <a:cubicBezTo>
                    <a:pt x="348" y="402"/>
                    <a:pt x="335" y="391"/>
                    <a:pt x="319" y="391"/>
                  </a:cubicBezTo>
                  <a:cubicBezTo>
                    <a:pt x="303" y="391"/>
                    <a:pt x="290" y="402"/>
                    <a:pt x="288" y="417"/>
                  </a:cubicBezTo>
                  <a:cubicBezTo>
                    <a:pt x="288" y="195"/>
                    <a:pt x="288" y="195"/>
                    <a:pt x="288" y="195"/>
                  </a:cubicBezTo>
                  <a:cubicBezTo>
                    <a:pt x="350" y="195"/>
                    <a:pt x="350" y="195"/>
                    <a:pt x="350" y="195"/>
                  </a:cubicBezTo>
                  <a:lnTo>
                    <a:pt x="350" y="217"/>
                  </a:lnTo>
                  <a:close/>
                  <a:moveTo>
                    <a:pt x="321" y="422"/>
                  </a:moveTo>
                  <a:cubicBezTo>
                    <a:pt x="321" y="423"/>
                    <a:pt x="320" y="424"/>
                    <a:pt x="319" y="424"/>
                  </a:cubicBezTo>
                  <a:cubicBezTo>
                    <a:pt x="318" y="424"/>
                    <a:pt x="318" y="423"/>
                    <a:pt x="318" y="422"/>
                  </a:cubicBezTo>
                  <a:cubicBezTo>
                    <a:pt x="318" y="422"/>
                    <a:pt x="318" y="421"/>
                    <a:pt x="319" y="421"/>
                  </a:cubicBezTo>
                  <a:cubicBezTo>
                    <a:pt x="320" y="421"/>
                    <a:pt x="321" y="422"/>
                    <a:pt x="321" y="422"/>
                  </a:cubicBezTo>
                  <a:close/>
                  <a:moveTo>
                    <a:pt x="319" y="454"/>
                  </a:moveTo>
                  <a:cubicBezTo>
                    <a:pt x="288" y="454"/>
                    <a:pt x="288" y="454"/>
                    <a:pt x="288" y="454"/>
                  </a:cubicBezTo>
                  <a:cubicBezTo>
                    <a:pt x="288" y="428"/>
                    <a:pt x="288" y="428"/>
                    <a:pt x="288" y="428"/>
                  </a:cubicBezTo>
                  <a:cubicBezTo>
                    <a:pt x="290" y="443"/>
                    <a:pt x="303" y="454"/>
                    <a:pt x="319" y="454"/>
                  </a:cubicBezTo>
                  <a:cubicBezTo>
                    <a:pt x="335" y="454"/>
                    <a:pt x="348" y="443"/>
                    <a:pt x="350" y="428"/>
                  </a:cubicBezTo>
                  <a:cubicBezTo>
                    <a:pt x="350" y="454"/>
                    <a:pt x="350" y="454"/>
                    <a:pt x="350" y="454"/>
                  </a:cubicBezTo>
                  <a:lnTo>
                    <a:pt x="319" y="454"/>
                  </a:lnTo>
                  <a:close/>
                  <a:moveTo>
                    <a:pt x="399" y="347"/>
                  </a:moveTo>
                  <a:cubicBezTo>
                    <a:pt x="381" y="347"/>
                    <a:pt x="381" y="347"/>
                    <a:pt x="381" y="347"/>
                  </a:cubicBezTo>
                  <a:cubicBezTo>
                    <a:pt x="381" y="180"/>
                    <a:pt x="381" y="180"/>
                    <a:pt x="381" y="180"/>
                  </a:cubicBezTo>
                  <a:cubicBezTo>
                    <a:pt x="381" y="172"/>
                    <a:pt x="374" y="165"/>
                    <a:pt x="365" y="165"/>
                  </a:cubicBezTo>
                  <a:cubicBezTo>
                    <a:pt x="273" y="165"/>
                    <a:pt x="273" y="165"/>
                    <a:pt x="273" y="165"/>
                  </a:cubicBezTo>
                  <a:cubicBezTo>
                    <a:pt x="264" y="165"/>
                    <a:pt x="257" y="172"/>
                    <a:pt x="257" y="180"/>
                  </a:cubicBezTo>
                  <a:cubicBezTo>
                    <a:pt x="257" y="347"/>
                    <a:pt x="257" y="347"/>
                    <a:pt x="257" y="347"/>
                  </a:cubicBezTo>
                  <a:cubicBezTo>
                    <a:pt x="50" y="347"/>
                    <a:pt x="50" y="347"/>
                    <a:pt x="50" y="347"/>
                  </a:cubicBezTo>
                  <a:cubicBezTo>
                    <a:pt x="39" y="347"/>
                    <a:pt x="30" y="338"/>
                    <a:pt x="30" y="327"/>
                  </a:cubicBezTo>
                  <a:cubicBezTo>
                    <a:pt x="30" y="309"/>
                    <a:pt x="30" y="309"/>
                    <a:pt x="30" y="309"/>
                  </a:cubicBezTo>
                  <a:cubicBezTo>
                    <a:pt x="30" y="298"/>
                    <a:pt x="39" y="290"/>
                    <a:pt x="50" y="290"/>
                  </a:cubicBezTo>
                  <a:cubicBezTo>
                    <a:pt x="103" y="290"/>
                    <a:pt x="103" y="290"/>
                    <a:pt x="103" y="290"/>
                  </a:cubicBezTo>
                  <a:cubicBezTo>
                    <a:pt x="111" y="290"/>
                    <a:pt x="118" y="283"/>
                    <a:pt x="118" y="274"/>
                  </a:cubicBezTo>
                  <a:cubicBezTo>
                    <a:pt x="118" y="114"/>
                    <a:pt x="118" y="114"/>
                    <a:pt x="118" y="114"/>
                  </a:cubicBezTo>
                  <a:cubicBezTo>
                    <a:pt x="138" y="114"/>
                    <a:pt x="138" y="114"/>
                    <a:pt x="138" y="114"/>
                  </a:cubicBezTo>
                  <a:cubicBezTo>
                    <a:pt x="138" y="241"/>
                    <a:pt x="138" y="241"/>
                    <a:pt x="138" y="241"/>
                  </a:cubicBezTo>
                  <a:cubicBezTo>
                    <a:pt x="138" y="243"/>
                    <a:pt x="139" y="246"/>
                    <a:pt x="140" y="248"/>
                  </a:cubicBezTo>
                  <a:cubicBezTo>
                    <a:pt x="176" y="307"/>
                    <a:pt x="176" y="307"/>
                    <a:pt x="176" y="307"/>
                  </a:cubicBezTo>
                  <a:cubicBezTo>
                    <a:pt x="179" y="312"/>
                    <a:pt x="183" y="314"/>
                    <a:pt x="189" y="314"/>
                  </a:cubicBezTo>
                  <a:cubicBezTo>
                    <a:pt x="194" y="314"/>
                    <a:pt x="199" y="312"/>
                    <a:pt x="202" y="307"/>
                  </a:cubicBezTo>
                  <a:cubicBezTo>
                    <a:pt x="237" y="248"/>
                    <a:pt x="237" y="248"/>
                    <a:pt x="237" y="248"/>
                  </a:cubicBezTo>
                  <a:cubicBezTo>
                    <a:pt x="239" y="246"/>
                    <a:pt x="239" y="243"/>
                    <a:pt x="239" y="241"/>
                  </a:cubicBezTo>
                  <a:cubicBezTo>
                    <a:pt x="239" y="115"/>
                    <a:pt x="239" y="115"/>
                    <a:pt x="239" y="115"/>
                  </a:cubicBezTo>
                  <a:cubicBezTo>
                    <a:pt x="399" y="116"/>
                    <a:pt x="399" y="116"/>
                    <a:pt x="399" y="116"/>
                  </a:cubicBezTo>
                  <a:lnTo>
                    <a:pt x="399" y="34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74045" tIns="37022" rIns="74045" bIns="37022" numCol="1" anchor="t" anchorCtr="0" compatLnSpc="1">
              <a:prstTxWarp prst="textNoShape">
                <a:avLst/>
              </a:prstTxWarp>
            </a:bodyPr>
            <a:lstStyle/>
            <a:p>
              <a:pPr defTabSz="82268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37">
                <a:solidFill>
                  <a:prstClr val="black"/>
                </a:solidFill>
                <a:latin typeface="Roboto" pitchFamily="2" charset="0"/>
                <a:ea typeface="Roboto" pitchFamily="2" charset="0"/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268856" y="1863390"/>
            <a:ext cx="613544" cy="613543"/>
            <a:chOff x="838200" y="2060538"/>
            <a:chExt cx="914400" cy="914400"/>
          </a:xfrm>
        </p:grpSpPr>
        <p:sp>
          <p:nvSpPr>
            <p:cNvPr id="5" name="Oval 4"/>
            <p:cNvSpPr/>
            <p:nvPr/>
          </p:nvSpPr>
          <p:spPr>
            <a:xfrm>
              <a:off x="838200" y="2060538"/>
              <a:ext cx="914400" cy="9144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2268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37">
                <a:solidFill>
                  <a:prstClr val="white"/>
                </a:solidFill>
                <a:latin typeface="Roboto" pitchFamily="2" charset="0"/>
                <a:ea typeface="Roboto" pitchFamily="2" charset="0"/>
              </a:endParaRPr>
            </a:p>
          </p:txBody>
        </p:sp>
        <p:sp>
          <p:nvSpPr>
            <p:cNvPr id="62" name="Freeform 61"/>
            <p:cNvSpPr>
              <a:spLocks noEditPoints="1"/>
            </p:cNvSpPr>
            <p:nvPr/>
          </p:nvSpPr>
          <p:spPr bwMode="auto">
            <a:xfrm>
              <a:off x="1089825" y="2311119"/>
              <a:ext cx="411152" cy="413238"/>
            </a:xfrm>
            <a:custGeom>
              <a:avLst/>
              <a:gdLst>
                <a:gd name="T0" fmla="*/ 397 w 482"/>
                <a:gd name="T1" fmla="*/ 129 h 486"/>
                <a:gd name="T2" fmla="*/ 397 w 482"/>
                <a:gd name="T3" fmla="*/ 29 h 486"/>
                <a:gd name="T4" fmla="*/ 381 w 482"/>
                <a:gd name="T5" fmla="*/ 13 h 486"/>
                <a:gd name="T6" fmla="*/ 322 w 482"/>
                <a:gd name="T7" fmla="*/ 13 h 486"/>
                <a:gd name="T8" fmla="*/ 306 w 482"/>
                <a:gd name="T9" fmla="*/ 29 h 486"/>
                <a:gd name="T10" fmla="*/ 306 w 482"/>
                <a:gd name="T11" fmla="*/ 51 h 486"/>
                <a:gd name="T12" fmla="*/ 252 w 482"/>
                <a:gd name="T13" fmla="*/ 5 h 486"/>
                <a:gd name="T14" fmla="*/ 231 w 482"/>
                <a:gd name="T15" fmla="*/ 5 h 486"/>
                <a:gd name="T16" fmla="*/ 6 w 482"/>
                <a:gd name="T17" fmla="*/ 197 h 486"/>
                <a:gd name="T18" fmla="*/ 1 w 482"/>
                <a:gd name="T19" fmla="*/ 208 h 486"/>
                <a:gd name="T20" fmla="*/ 5 w 482"/>
                <a:gd name="T21" fmla="*/ 219 h 486"/>
                <a:gd name="T22" fmla="*/ 49 w 482"/>
                <a:gd name="T23" fmla="*/ 272 h 486"/>
                <a:gd name="T24" fmla="*/ 72 w 482"/>
                <a:gd name="T25" fmla="*/ 273 h 486"/>
                <a:gd name="T26" fmla="*/ 75 w 482"/>
                <a:gd name="T27" fmla="*/ 271 h 486"/>
                <a:gd name="T28" fmla="*/ 75 w 482"/>
                <a:gd name="T29" fmla="*/ 470 h 486"/>
                <a:gd name="T30" fmla="*/ 91 w 482"/>
                <a:gd name="T31" fmla="*/ 486 h 486"/>
                <a:gd name="T32" fmla="*/ 392 w 482"/>
                <a:gd name="T33" fmla="*/ 486 h 486"/>
                <a:gd name="T34" fmla="*/ 408 w 482"/>
                <a:gd name="T35" fmla="*/ 470 h 486"/>
                <a:gd name="T36" fmla="*/ 408 w 482"/>
                <a:gd name="T37" fmla="*/ 271 h 486"/>
                <a:gd name="T38" fmla="*/ 411 w 482"/>
                <a:gd name="T39" fmla="*/ 273 h 486"/>
                <a:gd name="T40" fmla="*/ 421 w 482"/>
                <a:gd name="T41" fmla="*/ 277 h 486"/>
                <a:gd name="T42" fmla="*/ 434 w 482"/>
                <a:gd name="T43" fmla="*/ 272 h 486"/>
                <a:gd name="T44" fmla="*/ 478 w 482"/>
                <a:gd name="T45" fmla="*/ 219 h 486"/>
                <a:gd name="T46" fmla="*/ 482 w 482"/>
                <a:gd name="T47" fmla="*/ 208 h 486"/>
                <a:gd name="T48" fmla="*/ 476 w 482"/>
                <a:gd name="T49" fmla="*/ 197 h 486"/>
                <a:gd name="T50" fmla="*/ 397 w 482"/>
                <a:gd name="T51" fmla="*/ 129 h 486"/>
                <a:gd name="T52" fmla="*/ 338 w 482"/>
                <a:gd name="T53" fmla="*/ 45 h 486"/>
                <a:gd name="T54" fmla="*/ 365 w 482"/>
                <a:gd name="T55" fmla="*/ 45 h 486"/>
                <a:gd name="T56" fmla="*/ 365 w 482"/>
                <a:gd name="T57" fmla="*/ 102 h 486"/>
                <a:gd name="T58" fmla="*/ 338 w 482"/>
                <a:gd name="T59" fmla="*/ 79 h 486"/>
                <a:gd name="T60" fmla="*/ 338 w 482"/>
                <a:gd name="T61" fmla="*/ 45 h 486"/>
                <a:gd name="T62" fmla="*/ 271 w 482"/>
                <a:gd name="T63" fmla="*/ 454 h 486"/>
                <a:gd name="T64" fmla="*/ 212 w 482"/>
                <a:gd name="T65" fmla="*/ 454 h 486"/>
                <a:gd name="T66" fmla="*/ 212 w 482"/>
                <a:gd name="T67" fmla="*/ 357 h 486"/>
                <a:gd name="T68" fmla="*/ 271 w 482"/>
                <a:gd name="T69" fmla="*/ 357 h 486"/>
                <a:gd name="T70" fmla="*/ 271 w 482"/>
                <a:gd name="T71" fmla="*/ 454 h 486"/>
                <a:gd name="T72" fmla="*/ 376 w 482"/>
                <a:gd name="T73" fmla="*/ 244 h 486"/>
                <a:gd name="T74" fmla="*/ 376 w 482"/>
                <a:gd name="T75" fmla="*/ 454 h 486"/>
                <a:gd name="T76" fmla="*/ 303 w 482"/>
                <a:gd name="T77" fmla="*/ 454 h 486"/>
                <a:gd name="T78" fmla="*/ 303 w 482"/>
                <a:gd name="T79" fmla="*/ 341 h 486"/>
                <a:gd name="T80" fmla="*/ 287 w 482"/>
                <a:gd name="T81" fmla="*/ 325 h 486"/>
                <a:gd name="T82" fmla="*/ 196 w 482"/>
                <a:gd name="T83" fmla="*/ 325 h 486"/>
                <a:gd name="T84" fmla="*/ 180 w 482"/>
                <a:gd name="T85" fmla="*/ 341 h 486"/>
                <a:gd name="T86" fmla="*/ 180 w 482"/>
                <a:gd name="T87" fmla="*/ 454 h 486"/>
                <a:gd name="T88" fmla="*/ 107 w 482"/>
                <a:gd name="T89" fmla="*/ 454 h 486"/>
                <a:gd name="T90" fmla="*/ 107 w 482"/>
                <a:gd name="T91" fmla="*/ 244 h 486"/>
                <a:gd name="T92" fmla="*/ 106 w 482"/>
                <a:gd name="T93" fmla="*/ 244 h 486"/>
                <a:gd name="T94" fmla="*/ 241 w 482"/>
                <a:gd name="T95" fmla="*/ 129 h 486"/>
                <a:gd name="T96" fmla="*/ 376 w 482"/>
                <a:gd name="T97" fmla="*/ 244 h 486"/>
                <a:gd name="T98" fmla="*/ 420 w 482"/>
                <a:gd name="T99" fmla="*/ 238 h 486"/>
                <a:gd name="T100" fmla="*/ 252 w 482"/>
                <a:gd name="T101" fmla="*/ 96 h 486"/>
                <a:gd name="T102" fmla="*/ 241 w 482"/>
                <a:gd name="T103" fmla="*/ 92 h 486"/>
                <a:gd name="T104" fmla="*/ 231 w 482"/>
                <a:gd name="T105" fmla="*/ 96 h 486"/>
                <a:gd name="T106" fmla="*/ 63 w 482"/>
                <a:gd name="T107" fmla="*/ 238 h 486"/>
                <a:gd name="T108" fmla="*/ 39 w 482"/>
                <a:gd name="T109" fmla="*/ 211 h 486"/>
                <a:gd name="T110" fmla="*/ 241 w 482"/>
                <a:gd name="T111" fmla="*/ 38 h 486"/>
                <a:gd name="T112" fmla="*/ 443 w 482"/>
                <a:gd name="T113" fmla="*/ 211 h 486"/>
                <a:gd name="T114" fmla="*/ 420 w 482"/>
                <a:gd name="T115" fmla="*/ 23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2" h="486">
                  <a:moveTo>
                    <a:pt x="397" y="129"/>
                  </a:moveTo>
                  <a:cubicBezTo>
                    <a:pt x="397" y="29"/>
                    <a:pt x="397" y="29"/>
                    <a:pt x="397" y="29"/>
                  </a:cubicBezTo>
                  <a:cubicBezTo>
                    <a:pt x="397" y="20"/>
                    <a:pt x="390" y="13"/>
                    <a:pt x="381" y="13"/>
                  </a:cubicBezTo>
                  <a:cubicBezTo>
                    <a:pt x="322" y="13"/>
                    <a:pt x="322" y="13"/>
                    <a:pt x="322" y="13"/>
                  </a:cubicBezTo>
                  <a:cubicBezTo>
                    <a:pt x="313" y="13"/>
                    <a:pt x="306" y="20"/>
                    <a:pt x="306" y="29"/>
                  </a:cubicBezTo>
                  <a:cubicBezTo>
                    <a:pt x="306" y="51"/>
                    <a:pt x="306" y="51"/>
                    <a:pt x="306" y="51"/>
                  </a:cubicBezTo>
                  <a:cubicBezTo>
                    <a:pt x="252" y="5"/>
                    <a:pt x="252" y="5"/>
                    <a:pt x="252" y="5"/>
                  </a:cubicBezTo>
                  <a:cubicBezTo>
                    <a:pt x="246" y="0"/>
                    <a:pt x="237" y="0"/>
                    <a:pt x="231" y="5"/>
                  </a:cubicBezTo>
                  <a:cubicBezTo>
                    <a:pt x="6" y="197"/>
                    <a:pt x="6" y="197"/>
                    <a:pt x="6" y="197"/>
                  </a:cubicBezTo>
                  <a:cubicBezTo>
                    <a:pt x="3" y="200"/>
                    <a:pt x="1" y="203"/>
                    <a:pt x="1" y="208"/>
                  </a:cubicBezTo>
                  <a:cubicBezTo>
                    <a:pt x="0" y="212"/>
                    <a:pt x="2" y="216"/>
                    <a:pt x="5" y="219"/>
                  </a:cubicBezTo>
                  <a:cubicBezTo>
                    <a:pt x="49" y="272"/>
                    <a:pt x="49" y="272"/>
                    <a:pt x="49" y="272"/>
                  </a:cubicBezTo>
                  <a:cubicBezTo>
                    <a:pt x="55" y="278"/>
                    <a:pt x="65" y="279"/>
                    <a:pt x="72" y="273"/>
                  </a:cubicBezTo>
                  <a:cubicBezTo>
                    <a:pt x="75" y="271"/>
                    <a:pt x="75" y="271"/>
                    <a:pt x="75" y="271"/>
                  </a:cubicBezTo>
                  <a:cubicBezTo>
                    <a:pt x="75" y="470"/>
                    <a:pt x="75" y="470"/>
                    <a:pt x="75" y="470"/>
                  </a:cubicBezTo>
                  <a:cubicBezTo>
                    <a:pt x="75" y="479"/>
                    <a:pt x="82" y="486"/>
                    <a:pt x="91" y="486"/>
                  </a:cubicBezTo>
                  <a:cubicBezTo>
                    <a:pt x="392" y="486"/>
                    <a:pt x="392" y="486"/>
                    <a:pt x="392" y="486"/>
                  </a:cubicBezTo>
                  <a:cubicBezTo>
                    <a:pt x="401" y="486"/>
                    <a:pt x="408" y="479"/>
                    <a:pt x="408" y="470"/>
                  </a:cubicBezTo>
                  <a:cubicBezTo>
                    <a:pt x="408" y="271"/>
                    <a:pt x="408" y="271"/>
                    <a:pt x="408" y="271"/>
                  </a:cubicBezTo>
                  <a:cubicBezTo>
                    <a:pt x="411" y="273"/>
                    <a:pt x="411" y="273"/>
                    <a:pt x="411" y="273"/>
                  </a:cubicBezTo>
                  <a:cubicBezTo>
                    <a:pt x="414" y="276"/>
                    <a:pt x="418" y="277"/>
                    <a:pt x="421" y="277"/>
                  </a:cubicBezTo>
                  <a:cubicBezTo>
                    <a:pt x="426" y="277"/>
                    <a:pt x="430" y="275"/>
                    <a:pt x="434" y="272"/>
                  </a:cubicBezTo>
                  <a:cubicBezTo>
                    <a:pt x="478" y="219"/>
                    <a:pt x="478" y="219"/>
                    <a:pt x="478" y="219"/>
                  </a:cubicBezTo>
                  <a:cubicBezTo>
                    <a:pt x="481" y="216"/>
                    <a:pt x="482" y="212"/>
                    <a:pt x="482" y="208"/>
                  </a:cubicBezTo>
                  <a:cubicBezTo>
                    <a:pt x="482" y="203"/>
                    <a:pt x="480" y="200"/>
                    <a:pt x="476" y="197"/>
                  </a:cubicBezTo>
                  <a:lnTo>
                    <a:pt x="397" y="129"/>
                  </a:lnTo>
                  <a:close/>
                  <a:moveTo>
                    <a:pt x="338" y="45"/>
                  </a:moveTo>
                  <a:cubicBezTo>
                    <a:pt x="365" y="45"/>
                    <a:pt x="365" y="45"/>
                    <a:pt x="365" y="45"/>
                  </a:cubicBezTo>
                  <a:cubicBezTo>
                    <a:pt x="365" y="102"/>
                    <a:pt x="365" y="102"/>
                    <a:pt x="365" y="102"/>
                  </a:cubicBezTo>
                  <a:cubicBezTo>
                    <a:pt x="338" y="79"/>
                    <a:pt x="338" y="79"/>
                    <a:pt x="338" y="79"/>
                  </a:cubicBezTo>
                  <a:lnTo>
                    <a:pt x="338" y="45"/>
                  </a:lnTo>
                  <a:close/>
                  <a:moveTo>
                    <a:pt x="271" y="454"/>
                  </a:moveTo>
                  <a:cubicBezTo>
                    <a:pt x="212" y="454"/>
                    <a:pt x="212" y="454"/>
                    <a:pt x="212" y="454"/>
                  </a:cubicBezTo>
                  <a:cubicBezTo>
                    <a:pt x="212" y="357"/>
                    <a:pt x="212" y="357"/>
                    <a:pt x="212" y="357"/>
                  </a:cubicBezTo>
                  <a:cubicBezTo>
                    <a:pt x="271" y="357"/>
                    <a:pt x="271" y="357"/>
                    <a:pt x="271" y="357"/>
                  </a:cubicBezTo>
                  <a:lnTo>
                    <a:pt x="271" y="454"/>
                  </a:lnTo>
                  <a:close/>
                  <a:moveTo>
                    <a:pt x="376" y="244"/>
                  </a:moveTo>
                  <a:cubicBezTo>
                    <a:pt x="376" y="454"/>
                    <a:pt x="376" y="454"/>
                    <a:pt x="376" y="454"/>
                  </a:cubicBezTo>
                  <a:cubicBezTo>
                    <a:pt x="303" y="454"/>
                    <a:pt x="303" y="454"/>
                    <a:pt x="303" y="454"/>
                  </a:cubicBezTo>
                  <a:cubicBezTo>
                    <a:pt x="303" y="341"/>
                    <a:pt x="303" y="341"/>
                    <a:pt x="303" y="341"/>
                  </a:cubicBezTo>
                  <a:cubicBezTo>
                    <a:pt x="303" y="332"/>
                    <a:pt x="296" y="325"/>
                    <a:pt x="287" y="325"/>
                  </a:cubicBezTo>
                  <a:cubicBezTo>
                    <a:pt x="196" y="325"/>
                    <a:pt x="196" y="325"/>
                    <a:pt x="196" y="325"/>
                  </a:cubicBezTo>
                  <a:cubicBezTo>
                    <a:pt x="187" y="325"/>
                    <a:pt x="180" y="332"/>
                    <a:pt x="180" y="341"/>
                  </a:cubicBezTo>
                  <a:cubicBezTo>
                    <a:pt x="180" y="454"/>
                    <a:pt x="180" y="454"/>
                    <a:pt x="180" y="454"/>
                  </a:cubicBezTo>
                  <a:cubicBezTo>
                    <a:pt x="107" y="454"/>
                    <a:pt x="107" y="454"/>
                    <a:pt x="107" y="454"/>
                  </a:cubicBezTo>
                  <a:cubicBezTo>
                    <a:pt x="107" y="244"/>
                    <a:pt x="107" y="244"/>
                    <a:pt x="107" y="244"/>
                  </a:cubicBezTo>
                  <a:cubicBezTo>
                    <a:pt x="106" y="244"/>
                    <a:pt x="106" y="244"/>
                    <a:pt x="106" y="244"/>
                  </a:cubicBezTo>
                  <a:cubicBezTo>
                    <a:pt x="241" y="129"/>
                    <a:pt x="241" y="129"/>
                    <a:pt x="241" y="129"/>
                  </a:cubicBezTo>
                  <a:cubicBezTo>
                    <a:pt x="376" y="244"/>
                    <a:pt x="376" y="244"/>
                    <a:pt x="376" y="244"/>
                  </a:cubicBezTo>
                  <a:close/>
                  <a:moveTo>
                    <a:pt x="420" y="238"/>
                  </a:moveTo>
                  <a:cubicBezTo>
                    <a:pt x="252" y="96"/>
                    <a:pt x="252" y="96"/>
                    <a:pt x="252" y="96"/>
                  </a:cubicBezTo>
                  <a:cubicBezTo>
                    <a:pt x="249" y="93"/>
                    <a:pt x="245" y="92"/>
                    <a:pt x="241" y="92"/>
                  </a:cubicBezTo>
                  <a:cubicBezTo>
                    <a:pt x="238" y="92"/>
                    <a:pt x="234" y="93"/>
                    <a:pt x="231" y="96"/>
                  </a:cubicBezTo>
                  <a:cubicBezTo>
                    <a:pt x="63" y="238"/>
                    <a:pt x="63" y="238"/>
                    <a:pt x="63" y="238"/>
                  </a:cubicBezTo>
                  <a:cubicBezTo>
                    <a:pt x="39" y="211"/>
                    <a:pt x="39" y="211"/>
                    <a:pt x="39" y="211"/>
                  </a:cubicBezTo>
                  <a:cubicBezTo>
                    <a:pt x="241" y="38"/>
                    <a:pt x="241" y="38"/>
                    <a:pt x="241" y="38"/>
                  </a:cubicBezTo>
                  <a:cubicBezTo>
                    <a:pt x="443" y="211"/>
                    <a:pt x="443" y="211"/>
                    <a:pt x="443" y="211"/>
                  </a:cubicBezTo>
                  <a:lnTo>
                    <a:pt x="420" y="2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74045" tIns="37022" rIns="74045" bIns="37022" numCol="1" anchor="t" anchorCtr="0" compatLnSpc="1">
              <a:prstTxWarp prst="textNoShape">
                <a:avLst/>
              </a:prstTxWarp>
            </a:bodyPr>
            <a:lstStyle/>
            <a:p>
              <a:pPr defTabSz="82268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37">
                <a:solidFill>
                  <a:prstClr val="black"/>
                </a:solidFill>
                <a:latin typeface="Roboto" pitchFamily="2" charset="0"/>
                <a:ea typeface="Roboto" pitchFamily="2" charset="0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4528915" y="1863390"/>
            <a:ext cx="613544" cy="613543"/>
            <a:chOff x="7187215" y="2060538"/>
            <a:chExt cx="914400" cy="914400"/>
          </a:xfrm>
        </p:grpSpPr>
        <p:sp>
          <p:nvSpPr>
            <p:cNvPr id="35" name="Oval 34"/>
            <p:cNvSpPr/>
            <p:nvPr/>
          </p:nvSpPr>
          <p:spPr>
            <a:xfrm>
              <a:off x="7187215" y="2060538"/>
              <a:ext cx="914400" cy="9144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2268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37">
                <a:solidFill>
                  <a:prstClr val="white"/>
                </a:solidFill>
                <a:latin typeface="Roboto" pitchFamily="2" charset="0"/>
                <a:ea typeface="Roboto" pitchFamily="2" charset="0"/>
              </a:endParaRPr>
            </a:p>
          </p:txBody>
        </p:sp>
        <p:sp>
          <p:nvSpPr>
            <p:cNvPr id="63" name="Freeform 69"/>
            <p:cNvSpPr>
              <a:spLocks noEditPoints="1"/>
            </p:cNvSpPr>
            <p:nvPr/>
          </p:nvSpPr>
          <p:spPr bwMode="auto">
            <a:xfrm>
              <a:off x="7437794" y="2311119"/>
              <a:ext cx="413242" cy="413238"/>
            </a:xfrm>
            <a:custGeom>
              <a:avLst/>
              <a:gdLst>
                <a:gd name="T0" fmla="*/ 242 w 485"/>
                <a:gd name="T1" fmla="*/ 485 h 485"/>
                <a:gd name="T2" fmla="*/ 485 w 485"/>
                <a:gd name="T3" fmla="*/ 243 h 485"/>
                <a:gd name="T4" fmla="*/ 242 w 485"/>
                <a:gd name="T5" fmla="*/ 0 h 485"/>
                <a:gd name="T6" fmla="*/ 0 w 485"/>
                <a:gd name="T7" fmla="*/ 243 h 485"/>
                <a:gd name="T8" fmla="*/ 242 w 485"/>
                <a:gd name="T9" fmla="*/ 485 h 485"/>
                <a:gd name="T10" fmla="*/ 242 w 485"/>
                <a:gd name="T11" fmla="*/ 451 h 485"/>
                <a:gd name="T12" fmla="*/ 62 w 485"/>
                <a:gd name="T13" fmla="*/ 346 h 485"/>
                <a:gd name="T14" fmla="*/ 184 w 485"/>
                <a:gd name="T15" fmla="*/ 346 h 485"/>
                <a:gd name="T16" fmla="*/ 242 w 485"/>
                <a:gd name="T17" fmla="*/ 386 h 485"/>
                <a:gd name="T18" fmla="*/ 300 w 485"/>
                <a:gd name="T19" fmla="*/ 346 h 485"/>
                <a:gd name="T20" fmla="*/ 422 w 485"/>
                <a:gd name="T21" fmla="*/ 346 h 485"/>
                <a:gd name="T22" fmla="*/ 242 w 485"/>
                <a:gd name="T23" fmla="*/ 451 h 485"/>
                <a:gd name="T24" fmla="*/ 63 w 485"/>
                <a:gd name="T25" fmla="*/ 226 h 485"/>
                <a:gd name="T26" fmla="*/ 35 w 485"/>
                <a:gd name="T27" fmla="*/ 226 h 485"/>
                <a:gd name="T28" fmla="*/ 84 w 485"/>
                <a:gd name="T29" fmla="*/ 109 h 485"/>
                <a:gd name="T30" fmla="*/ 103 w 485"/>
                <a:gd name="T31" fmla="*/ 128 h 485"/>
                <a:gd name="T32" fmla="*/ 115 w 485"/>
                <a:gd name="T33" fmla="*/ 133 h 485"/>
                <a:gd name="T34" fmla="*/ 127 w 485"/>
                <a:gd name="T35" fmla="*/ 128 h 485"/>
                <a:gd name="T36" fmla="*/ 127 w 485"/>
                <a:gd name="T37" fmla="*/ 103 h 485"/>
                <a:gd name="T38" fmla="*/ 108 w 485"/>
                <a:gd name="T39" fmla="*/ 84 h 485"/>
                <a:gd name="T40" fmla="*/ 225 w 485"/>
                <a:gd name="T41" fmla="*/ 36 h 485"/>
                <a:gd name="T42" fmla="*/ 225 w 485"/>
                <a:gd name="T43" fmla="*/ 63 h 485"/>
                <a:gd name="T44" fmla="*/ 242 w 485"/>
                <a:gd name="T45" fmla="*/ 80 h 485"/>
                <a:gd name="T46" fmla="*/ 259 w 485"/>
                <a:gd name="T47" fmla="*/ 63 h 485"/>
                <a:gd name="T48" fmla="*/ 259 w 485"/>
                <a:gd name="T49" fmla="*/ 36 h 485"/>
                <a:gd name="T50" fmla="*/ 376 w 485"/>
                <a:gd name="T51" fmla="*/ 84 h 485"/>
                <a:gd name="T52" fmla="*/ 357 w 485"/>
                <a:gd name="T53" fmla="*/ 103 h 485"/>
                <a:gd name="T54" fmla="*/ 357 w 485"/>
                <a:gd name="T55" fmla="*/ 128 h 485"/>
                <a:gd name="T56" fmla="*/ 369 w 485"/>
                <a:gd name="T57" fmla="*/ 133 h 485"/>
                <a:gd name="T58" fmla="*/ 382 w 485"/>
                <a:gd name="T59" fmla="*/ 128 h 485"/>
                <a:gd name="T60" fmla="*/ 401 w 485"/>
                <a:gd name="T61" fmla="*/ 109 h 485"/>
                <a:gd name="T62" fmla="*/ 449 w 485"/>
                <a:gd name="T63" fmla="*/ 226 h 485"/>
                <a:gd name="T64" fmla="*/ 422 w 485"/>
                <a:gd name="T65" fmla="*/ 226 h 485"/>
                <a:gd name="T66" fmla="*/ 404 w 485"/>
                <a:gd name="T67" fmla="*/ 243 h 485"/>
                <a:gd name="T68" fmla="*/ 422 w 485"/>
                <a:gd name="T69" fmla="*/ 260 h 485"/>
                <a:gd name="T70" fmla="*/ 449 w 485"/>
                <a:gd name="T71" fmla="*/ 260 h 485"/>
                <a:gd name="T72" fmla="*/ 438 w 485"/>
                <a:gd name="T73" fmla="*/ 312 h 485"/>
                <a:gd name="T74" fmla="*/ 303 w 485"/>
                <a:gd name="T75" fmla="*/ 312 h 485"/>
                <a:gd name="T76" fmla="*/ 259 w 485"/>
                <a:gd name="T77" fmla="*/ 264 h 485"/>
                <a:gd name="T78" fmla="*/ 259 w 485"/>
                <a:gd name="T79" fmla="*/ 166 h 485"/>
                <a:gd name="T80" fmla="*/ 242 w 485"/>
                <a:gd name="T81" fmla="*/ 149 h 485"/>
                <a:gd name="T82" fmla="*/ 225 w 485"/>
                <a:gd name="T83" fmla="*/ 166 h 485"/>
                <a:gd name="T84" fmla="*/ 225 w 485"/>
                <a:gd name="T85" fmla="*/ 264 h 485"/>
                <a:gd name="T86" fmla="*/ 181 w 485"/>
                <a:gd name="T87" fmla="*/ 312 h 485"/>
                <a:gd name="T88" fmla="*/ 46 w 485"/>
                <a:gd name="T89" fmla="*/ 312 h 485"/>
                <a:gd name="T90" fmla="*/ 35 w 485"/>
                <a:gd name="T91" fmla="*/ 260 h 485"/>
                <a:gd name="T92" fmla="*/ 63 w 485"/>
                <a:gd name="T93" fmla="*/ 260 h 485"/>
                <a:gd name="T94" fmla="*/ 80 w 485"/>
                <a:gd name="T95" fmla="*/ 243 h 485"/>
                <a:gd name="T96" fmla="*/ 63 w 485"/>
                <a:gd name="T97" fmla="*/ 226 h 485"/>
                <a:gd name="T98" fmla="*/ 242 w 485"/>
                <a:gd name="T99" fmla="*/ 296 h 485"/>
                <a:gd name="T100" fmla="*/ 270 w 485"/>
                <a:gd name="T101" fmla="*/ 323 h 485"/>
                <a:gd name="T102" fmla="*/ 242 w 485"/>
                <a:gd name="T103" fmla="*/ 351 h 485"/>
                <a:gd name="T104" fmla="*/ 214 w 485"/>
                <a:gd name="T105" fmla="*/ 323 h 485"/>
                <a:gd name="T106" fmla="*/ 242 w 485"/>
                <a:gd name="T107" fmla="*/ 296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85" h="485">
                  <a:moveTo>
                    <a:pt x="242" y="485"/>
                  </a:moveTo>
                  <a:cubicBezTo>
                    <a:pt x="376" y="485"/>
                    <a:pt x="485" y="376"/>
                    <a:pt x="485" y="243"/>
                  </a:cubicBezTo>
                  <a:cubicBezTo>
                    <a:pt x="485" y="109"/>
                    <a:pt x="376" y="0"/>
                    <a:pt x="242" y="0"/>
                  </a:cubicBezTo>
                  <a:cubicBezTo>
                    <a:pt x="108" y="0"/>
                    <a:pt x="0" y="109"/>
                    <a:pt x="0" y="243"/>
                  </a:cubicBezTo>
                  <a:cubicBezTo>
                    <a:pt x="0" y="376"/>
                    <a:pt x="108" y="485"/>
                    <a:pt x="242" y="485"/>
                  </a:cubicBezTo>
                  <a:close/>
                  <a:moveTo>
                    <a:pt x="242" y="451"/>
                  </a:moveTo>
                  <a:cubicBezTo>
                    <a:pt x="165" y="451"/>
                    <a:pt x="98" y="409"/>
                    <a:pt x="62" y="346"/>
                  </a:cubicBezTo>
                  <a:cubicBezTo>
                    <a:pt x="184" y="346"/>
                    <a:pt x="184" y="346"/>
                    <a:pt x="184" y="346"/>
                  </a:cubicBezTo>
                  <a:cubicBezTo>
                    <a:pt x="194" y="369"/>
                    <a:pt x="216" y="386"/>
                    <a:pt x="242" y="386"/>
                  </a:cubicBezTo>
                  <a:cubicBezTo>
                    <a:pt x="268" y="386"/>
                    <a:pt x="291" y="369"/>
                    <a:pt x="300" y="346"/>
                  </a:cubicBezTo>
                  <a:cubicBezTo>
                    <a:pt x="422" y="346"/>
                    <a:pt x="422" y="346"/>
                    <a:pt x="422" y="346"/>
                  </a:cubicBezTo>
                  <a:cubicBezTo>
                    <a:pt x="386" y="409"/>
                    <a:pt x="319" y="451"/>
                    <a:pt x="242" y="451"/>
                  </a:cubicBezTo>
                  <a:close/>
                  <a:moveTo>
                    <a:pt x="63" y="226"/>
                  </a:moveTo>
                  <a:cubicBezTo>
                    <a:pt x="35" y="226"/>
                    <a:pt x="35" y="226"/>
                    <a:pt x="35" y="226"/>
                  </a:cubicBezTo>
                  <a:cubicBezTo>
                    <a:pt x="39" y="181"/>
                    <a:pt x="56" y="141"/>
                    <a:pt x="84" y="109"/>
                  </a:cubicBezTo>
                  <a:cubicBezTo>
                    <a:pt x="103" y="128"/>
                    <a:pt x="103" y="128"/>
                    <a:pt x="103" y="128"/>
                  </a:cubicBezTo>
                  <a:cubicBezTo>
                    <a:pt x="106" y="131"/>
                    <a:pt x="110" y="133"/>
                    <a:pt x="115" y="133"/>
                  </a:cubicBezTo>
                  <a:cubicBezTo>
                    <a:pt x="119" y="133"/>
                    <a:pt x="124" y="131"/>
                    <a:pt x="127" y="128"/>
                  </a:cubicBezTo>
                  <a:cubicBezTo>
                    <a:pt x="134" y="121"/>
                    <a:pt x="134" y="110"/>
                    <a:pt x="127" y="103"/>
                  </a:cubicBezTo>
                  <a:cubicBezTo>
                    <a:pt x="108" y="84"/>
                    <a:pt x="108" y="84"/>
                    <a:pt x="108" y="84"/>
                  </a:cubicBezTo>
                  <a:cubicBezTo>
                    <a:pt x="140" y="57"/>
                    <a:pt x="181" y="39"/>
                    <a:pt x="225" y="36"/>
                  </a:cubicBezTo>
                  <a:cubicBezTo>
                    <a:pt x="225" y="63"/>
                    <a:pt x="225" y="63"/>
                    <a:pt x="225" y="63"/>
                  </a:cubicBezTo>
                  <a:cubicBezTo>
                    <a:pt x="225" y="73"/>
                    <a:pt x="233" y="80"/>
                    <a:pt x="242" y="80"/>
                  </a:cubicBezTo>
                  <a:cubicBezTo>
                    <a:pt x="252" y="80"/>
                    <a:pt x="259" y="73"/>
                    <a:pt x="259" y="63"/>
                  </a:cubicBezTo>
                  <a:cubicBezTo>
                    <a:pt x="259" y="36"/>
                    <a:pt x="259" y="36"/>
                    <a:pt x="259" y="36"/>
                  </a:cubicBezTo>
                  <a:cubicBezTo>
                    <a:pt x="304" y="39"/>
                    <a:pt x="344" y="57"/>
                    <a:pt x="376" y="84"/>
                  </a:cubicBezTo>
                  <a:cubicBezTo>
                    <a:pt x="357" y="103"/>
                    <a:pt x="357" y="103"/>
                    <a:pt x="357" y="103"/>
                  </a:cubicBezTo>
                  <a:cubicBezTo>
                    <a:pt x="350" y="110"/>
                    <a:pt x="350" y="121"/>
                    <a:pt x="357" y="128"/>
                  </a:cubicBezTo>
                  <a:cubicBezTo>
                    <a:pt x="361" y="131"/>
                    <a:pt x="365" y="133"/>
                    <a:pt x="369" y="133"/>
                  </a:cubicBezTo>
                  <a:cubicBezTo>
                    <a:pt x="374" y="133"/>
                    <a:pt x="378" y="131"/>
                    <a:pt x="382" y="128"/>
                  </a:cubicBezTo>
                  <a:cubicBezTo>
                    <a:pt x="401" y="109"/>
                    <a:pt x="401" y="109"/>
                    <a:pt x="401" y="109"/>
                  </a:cubicBezTo>
                  <a:cubicBezTo>
                    <a:pt x="428" y="141"/>
                    <a:pt x="446" y="181"/>
                    <a:pt x="449" y="226"/>
                  </a:cubicBezTo>
                  <a:cubicBezTo>
                    <a:pt x="422" y="226"/>
                    <a:pt x="422" y="226"/>
                    <a:pt x="422" y="226"/>
                  </a:cubicBezTo>
                  <a:cubicBezTo>
                    <a:pt x="412" y="226"/>
                    <a:pt x="404" y="233"/>
                    <a:pt x="404" y="243"/>
                  </a:cubicBezTo>
                  <a:cubicBezTo>
                    <a:pt x="404" y="252"/>
                    <a:pt x="412" y="260"/>
                    <a:pt x="422" y="260"/>
                  </a:cubicBezTo>
                  <a:cubicBezTo>
                    <a:pt x="449" y="260"/>
                    <a:pt x="449" y="260"/>
                    <a:pt x="449" y="260"/>
                  </a:cubicBezTo>
                  <a:cubicBezTo>
                    <a:pt x="448" y="278"/>
                    <a:pt x="444" y="295"/>
                    <a:pt x="438" y="312"/>
                  </a:cubicBezTo>
                  <a:cubicBezTo>
                    <a:pt x="303" y="312"/>
                    <a:pt x="303" y="312"/>
                    <a:pt x="303" y="312"/>
                  </a:cubicBezTo>
                  <a:cubicBezTo>
                    <a:pt x="299" y="289"/>
                    <a:pt x="282" y="270"/>
                    <a:pt x="259" y="264"/>
                  </a:cubicBezTo>
                  <a:cubicBezTo>
                    <a:pt x="259" y="166"/>
                    <a:pt x="259" y="166"/>
                    <a:pt x="259" y="166"/>
                  </a:cubicBezTo>
                  <a:cubicBezTo>
                    <a:pt x="259" y="157"/>
                    <a:pt x="252" y="149"/>
                    <a:pt x="242" y="149"/>
                  </a:cubicBezTo>
                  <a:cubicBezTo>
                    <a:pt x="233" y="149"/>
                    <a:pt x="225" y="157"/>
                    <a:pt x="225" y="166"/>
                  </a:cubicBezTo>
                  <a:cubicBezTo>
                    <a:pt x="225" y="264"/>
                    <a:pt x="225" y="264"/>
                    <a:pt x="225" y="264"/>
                  </a:cubicBezTo>
                  <a:cubicBezTo>
                    <a:pt x="203" y="270"/>
                    <a:pt x="185" y="289"/>
                    <a:pt x="181" y="312"/>
                  </a:cubicBezTo>
                  <a:cubicBezTo>
                    <a:pt x="46" y="312"/>
                    <a:pt x="46" y="312"/>
                    <a:pt x="46" y="312"/>
                  </a:cubicBezTo>
                  <a:cubicBezTo>
                    <a:pt x="40" y="295"/>
                    <a:pt x="37" y="278"/>
                    <a:pt x="35" y="260"/>
                  </a:cubicBezTo>
                  <a:cubicBezTo>
                    <a:pt x="63" y="260"/>
                    <a:pt x="63" y="260"/>
                    <a:pt x="63" y="260"/>
                  </a:cubicBezTo>
                  <a:cubicBezTo>
                    <a:pt x="72" y="260"/>
                    <a:pt x="80" y="252"/>
                    <a:pt x="80" y="243"/>
                  </a:cubicBezTo>
                  <a:cubicBezTo>
                    <a:pt x="80" y="233"/>
                    <a:pt x="72" y="226"/>
                    <a:pt x="63" y="226"/>
                  </a:cubicBezTo>
                  <a:close/>
                  <a:moveTo>
                    <a:pt x="242" y="296"/>
                  </a:moveTo>
                  <a:cubicBezTo>
                    <a:pt x="257" y="296"/>
                    <a:pt x="270" y="308"/>
                    <a:pt x="270" y="323"/>
                  </a:cubicBezTo>
                  <a:cubicBezTo>
                    <a:pt x="270" y="339"/>
                    <a:pt x="257" y="351"/>
                    <a:pt x="242" y="351"/>
                  </a:cubicBezTo>
                  <a:cubicBezTo>
                    <a:pt x="227" y="351"/>
                    <a:pt x="214" y="339"/>
                    <a:pt x="214" y="323"/>
                  </a:cubicBezTo>
                  <a:cubicBezTo>
                    <a:pt x="214" y="308"/>
                    <a:pt x="227" y="296"/>
                    <a:pt x="242" y="29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74045" tIns="37022" rIns="74045" bIns="37022" numCol="1" anchor="t" anchorCtr="0" compatLnSpc="1">
              <a:prstTxWarp prst="textNoShape">
                <a:avLst/>
              </a:prstTxWarp>
            </a:bodyPr>
            <a:lstStyle/>
            <a:p>
              <a:pPr defTabSz="82268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37">
                <a:solidFill>
                  <a:prstClr val="black"/>
                </a:solidFill>
                <a:latin typeface="Roboto" pitchFamily="2" charset="0"/>
                <a:ea typeface="Roboto" pitchFamily="2" charset="0"/>
              </a:endParaRPr>
            </a:p>
          </p:txBody>
        </p:sp>
      </p:grp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7E60F9C6-3563-429C-8EBC-961C62DF0996}"/>
              </a:ext>
            </a:extLst>
          </p:cNvPr>
          <p:cNvCxnSpPr/>
          <p:nvPr/>
        </p:nvCxnSpPr>
        <p:spPr>
          <a:xfrm>
            <a:off x="7048413" y="3346066"/>
            <a:ext cx="0" cy="237300"/>
          </a:xfrm>
          <a:prstGeom prst="line">
            <a:avLst/>
          </a:prstGeom>
          <a:solidFill>
            <a:schemeClr val="accent4"/>
          </a:solidFill>
          <a:ln w="38100">
            <a:solidFill>
              <a:schemeClr val="accent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ound Same Side Corner Rectangle 33">
            <a:extLst>
              <a:ext uri="{FF2B5EF4-FFF2-40B4-BE49-F238E27FC236}">
                <a16:creationId xmlns:a16="http://schemas.microsoft.com/office/drawing/2014/main" id="{48C6CC6D-ABDE-446D-8D91-BCD631314268}"/>
              </a:ext>
            </a:extLst>
          </p:cNvPr>
          <p:cNvSpPr/>
          <p:nvPr/>
        </p:nvSpPr>
        <p:spPr>
          <a:xfrm>
            <a:off x="6839256" y="2824550"/>
            <a:ext cx="1420839" cy="260757"/>
          </a:xfrm>
          <a:prstGeom prst="round2SameRect">
            <a:avLst>
              <a:gd name="adj1" fmla="val 27188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8090" rtlCol="0" anchor="ctr"/>
          <a:lstStyle/>
          <a:p>
            <a:pPr marL="231381" indent="-231381" defTabSz="822686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60" b="1">
                <a:solidFill>
                  <a:prstClr val="white"/>
                </a:solidFill>
                <a:latin typeface="Roboto" pitchFamily="2" charset="0"/>
                <a:ea typeface="Roboto" pitchFamily="2" charset="0"/>
              </a:rPr>
              <a:t>2026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DB3E4901-D71B-4D96-89EB-1C9E45A6EBA0}"/>
              </a:ext>
            </a:extLst>
          </p:cNvPr>
          <p:cNvCxnSpPr/>
          <p:nvPr/>
        </p:nvCxnSpPr>
        <p:spPr>
          <a:xfrm flipV="1">
            <a:off x="6992641" y="2587248"/>
            <a:ext cx="0" cy="237300"/>
          </a:xfrm>
          <a:prstGeom prst="line">
            <a:avLst/>
          </a:prstGeom>
          <a:solidFill>
            <a:schemeClr val="accent2"/>
          </a:solidFill>
          <a:ln w="38100">
            <a:solidFill>
              <a:schemeClr val="accent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Freeform 58">
            <a:extLst>
              <a:ext uri="{FF2B5EF4-FFF2-40B4-BE49-F238E27FC236}">
                <a16:creationId xmlns:a16="http://schemas.microsoft.com/office/drawing/2014/main" id="{8B30D4FD-0BDF-41EF-8DB1-2DA8C7C2C49C}"/>
              </a:ext>
            </a:extLst>
          </p:cNvPr>
          <p:cNvSpPr/>
          <p:nvPr/>
        </p:nvSpPr>
        <p:spPr>
          <a:xfrm>
            <a:off x="5778505" y="3085307"/>
            <a:ext cx="1420839" cy="260757"/>
          </a:xfrm>
          <a:custGeom>
            <a:avLst/>
            <a:gdLst>
              <a:gd name="connsiteX0" fmla="*/ 0 w 2117558"/>
              <a:gd name="connsiteY0" fmla="*/ 0 h 388621"/>
              <a:gd name="connsiteX1" fmla="*/ 2117558 w 2117558"/>
              <a:gd name="connsiteY1" fmla="*/ 0 h 388621"/>
              <a:gd name="connsiteX2" fmla="*/ 2117558 w 2117558"/>
              <a:gd name="connsiteY2" fmla="*/ 282963 h 388621"/>
              <a:gd name="connsiteX3" fmla="*/ 2011900 w 2117558"/>
              <a:gd name="connsiteY3" fmla="*/ 388621 h 388621"/>
              <a:gd name="connsiteX4" fmla="*/ 105658 w 2117558"/>
              <a:gd name="connsiteY4" fmla="*/ 388621 h 388621"/>
              <a:gd name="connsiteX5" fmla="*/ 0 w 2117558"/>
              <a:gd name="connsiteY5" fmla="*/ 282963 h 388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17558" h="388621">
                <a:moveTo>
                  <a:pt x="0" y="0"/>
                </a:moveTo>
                <a:lnTo>
                  <a:pt x="2117558" y="0"/>
                </a:lnTo>
                <a:lnTo>
                  <a:pt x="2117558" y="282963"/>
                </a:lnTo>
                <a:cubicBezTo>
                  <a:pt x="2117558" y="341316"/>
                  <a:pt x="2070253" y="388621"/>
                  <a:pt x="2011900" y="388621"/>
                </a:cubicBezTo>
                <a:lnTo>
                  <a:pt x="105658" y="388621"/>
                </a:lnTo>
                <a:cubicBezTo>
                  <a:pt x="47305" y="388621"/>
                  <a:pt x="0" y="341316"/>
                  <a:pt x="0" y="282963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8090" rtlCol="0" anchor="ctr"/>
          <a:lstStyle/>
          <a:p>
            <a:pPr marL="231381" indent="-231381" defTabSz="822686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60" b="1">
                <a:solidFill>
                  <a:prstClr val="white"/>
                </a:solidFill>
                <a:latin typeface="Roboto" pitchFamily="2" charset="0"/>
                <a:ea typeface="Roboto" pitchFamily="2" charset="0"/>
              </a:rPr>
              <a:t>2025-Nov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B90F8962-30ED-4F27-89B7-F7886B5B53F7}"/>
              </a:ext>
            </a:extLst>
          </p:cNvPr>
          <p:cNvGrpSpPr/>
          <p:nvPr/>
        </p:nvGrpSpPr>
        <p:grpSpPr>
          <a:xfrm>
            <a:off x="6741641" y="3693680"/>
            <a:ext cx="613544" cy="613543"/>
            <a:chOff x="7270333" y="4788328"/>
            <a:chExt cx="914400" cy="914400"/>
          </a:xfrm>
        </p:grpSpPr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288F4B4E-9A1A-4D8B-B14A-B7B138DE6FB3}"/>
                </a:ext>
              </a:extLst>
            </p:cNvPr>
            <p:cNvSpPr/>
            <p:nvPr/>
          </p:nvSpPr>
          <p:spPr>
            <a:xfrm flipV="1">
              <a:off x="7270333" y="4788328"/>
              <a:ext cx="914400" cy="9144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2268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37">
                <a:solidFill>
                  <a:prstClr val="white"/>
                </a:solidFill>
                <a:latin typeface="Roboto" pitchFamily="2" charset="0"/>
                <a:ea typeface="Roboto" pitchFamily="2" charset="0"/>
              </a:endParaRPr>
            </a:p>
          </p:txBody>
        </p:sp>
        <p:sp>
          <p:nvSpPr>
            <p:cNvPr id="84" name="Freeform 46">
              <a:extLst>
                <a:ext uri="{FF2B5EF4-FFF2-40B4-BE49-F238E27FC236}">
                  <a16:creationId xmlns:a16="http://schemas.microsoft.com/office/drawing/2014/main" id="{F11A81F9-B1C6-4909-BE19-8E53DF7F90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44916" y="5038911"/>
              <a:ext cx="365234" cy="413234"/>
            </a:xfrm>
            <a:custGeom>
              <a:avLst/>
              <a:gdLst>
                <a:gd name="T0" fmla="*/ 429 w 429"/>
                <a:gd name="T1" fmla="*/ 101 h 485"/>
                <a:gd name="T2" fmla="*/ 239 w 429"/>
                <a:gd name="T3" fmla="*/ 85 h 485"/>
                <a:gd name="T4" fmla="*/ 224 w 429"/>
                <a:gd name="T5" fmla="*/ 0 h 485"/>
                <a:gd name="T6" fmla="*/ 138 w 429"/>
                <a:gd name="T7" fmla="*/ 15 h 485"/>
                <a:gd name="T8" fmla="*/ 118 w 429"/>
                <a:gd name="T9" fmla="*/ 84 h 485"/>
                <a:gd name="T10" fmla="*/ 103 w 429"/>
                <a:gd name="T11" fmla="*/ 27 h 485"/>
                <a:gd name="T12" fmla="*/ 0 w 429"/>
                <a:gd name="T13" fmla="*/ 76 h 485"/>
                <a:gd name="T14" fmla="*/ 0 w 429"/>
                <a:gd name="T15" fmla="*/ 77 h 485"/>
                <a:gd name="T16" fmla="*/ 0 w 429"/>
                <a:gd name="T17" fmla="*/ 309 h 485"/>
                <a:gd name="T18" fmla="*/ 0 w 429"/>
                <a:gd name="T19" fmla="*/ 327 h 485"/>
                <a:gd name="T20" fmla="*/ 257 w 429"/>
                <a:gd name="T21" fmla="*/ 377 h 485"/>
                <a:gd name="T22" fmla="*/ 273 w 429"/>
                <a:gd name="T23" fmla="*/ 485 h 485"/>
                <a:gd name="T24" fmla="*/ 381 w 429"/>
                <a:gd name="T25" fmla="*/ 469 h 485"/>
                <a:gd name="T26" fmla="*/ 414 w 429"/>
                <a:gd name="T27" fmla="*/ 377 h 485"/>
                <a:gd name="T28" fmla="*/ 169 w 429"/>
                <a:gd name="T29" fmla="*/ 86 h 485"/>
                <a:gd name="T30" fmla="*/ 209 w 429"/>
                <a:gd name="T31" fmla="*/ 236 h 485"/>
                <a:gd name="T32" fmla="*/ 169 w 429"/>
                <a:gd name="T33" fmla="*/ 236 h 485"/>
                <a:gd name="T34" fmla="*/ 209 w 429"/>
                <a:gd name="T35" fmla="*/ 30 h 485"/>
                <a:gd name="T36" fmla="*/ 169 w 429"/>
                <a:gd name="T37" fmla="*/ 55 h 485"/>
                <a:gd name="T38" fmla="*/ 209 w 429"/>
                <a:gd name="T39" fmla="*/ 30 h 485"/>
                <a:gd name="T40" fmla="*/ 50 w 429"/>
                <a:gd name="T41" fmla="*/ 57 h 485"/>
                <a:gd name="T42" fmla="*/ 88 w 429"/>
                <a:gd name="T43" fmla="*/ 259 h 485"/>
                <a:gd name="T44" fmla="*/ 30 w 429"/>
                <a:gd name="T45" fmla="*/ 263 h 485"/>
                <a:gd name="T46" fmla="*/ 30 w 429"/>
                <a:gd name="T47" fmla="*/ 77 h 485"/>
                <a:gd name="T48" fmla="*/ 334 w 429"/>
                <a:gd name="T49" fmla="*/ 217 h 485"/>
                <a:gd name="T50" fmla="*/ 334 w 429"/>
                <a:gd name="T51" fmla="*/ 248 h 485"/>
                <a:gd name="T52" fmla="*/ 350 w 429"/>
                <a:gd name="T53" fmla="*/ 264 h 485"/>
                <a:gd name="T54" fmla="*/ 319 w 429"/>
                <a:gd name="T55" fmla="*/ 279 h 485"/>
                <a:gd name="T56" fmla="*/ 350 w 429"/>
                <a:gd name="T57" fmla="*/ 294 h 485"/>
                <a:gd name="T58" fmla="*/ 334 w 429"/>
                <a:gd name="T59" fmla="*/ 310 h 485"/>
                <a:gd name="T60" fmla="*/ 334 w 429"/>
                <a:gd name="T61" fmla="*/ 340 h 485"/>
                <a:gd name="T62" fmla="*/ 350 w 429"/>
                <a:gd name="T63" fmla="*/ 356 h 485"/>
                <a:gd name="T64" fmla="*/ 319 w 429"/>
                <a:gd name="T65" fmla="*/ 371 h 485"/>
                <a:gd name="T66" fmla="*/ 350 w 429"/>
                <a:gd name="T67" fmla="*/ 386 h 485"/>
                <a:gd name="T68" fmla="*/ 319 w 429"/>
                <a:gd name="T69" fmla="*/ 391 h 485"/>
                <a:gd name="T70" fmla="*/ 288 w 429"/>
                <a:gd name="T71" fmla="*/ 195 h 485"/>
                <a:gd name="T72" fmla="*/ 350 w 429"/>
                <a:gd name="T73" fmla="*/ 217 h 485"/>
                <a:gd name="T74" fmla="*/ 319 w 429"/>
                <a:gd name="T75" fmla="*/ 424 h 485"/>
                <a:gd name="T76" fmla="*/ 319 w 429"/>
                <a:gd name="T77" fmla="*/ 421 h 485"/>
                <a:gd name="T78" fmla="*/ 319 w 429"/>
                <a:gd name="T79" fmla="*/ 454 h 485"/>
                <a:gd name="T80" fmla="*/ 288 w 429"/>
                <a:gd name="T81" fmla="*/ 428 h 485"/>
                <a:gd name="T82" fmla="*/ 350 w 429"/>
                <a:gd name="T83" fmla="*/ 428 h 485"/>
                <a:gd name="T84" fmla="*/ 319 w 429"/>
                <a:gd name="T85" fmla="*/ 454 h 485"/>
                <a:gd name="T86" fmla="*/ 381 w 429"/>
                <a:gd name="T87" fmla="*/ 347 h 485"/>
                <a:gd name="T88" fmla="*/ 365 w 429"/>
                <a:gd name="T89" fmla="*/ 165 h 485"/>
                <a:gd name="T90" fmla="*/ 257 w 429"/>
                <a:gd name="T91" fmla="*/ 180 h 485"/>
                <a:gd name="T92" fmla="*/ 50 w 429"/>
                <a:gd name="T93" fmla="*/ 347 h 485"/>
                <a:gd name="T94" fmla="*/ 30 w 429"/>
                <a:gd name="T95" fmla="*/ 309 h 485"/>
                <a:gd name="T96" fmla="*/ 103 w 429"/>
                <a:gd name="T97" fmla="*/ 290 h 485"/>
                <a:gd name="T98" fmla="*/ 118 w 429"/>
                <a:gd name="T99" fmla="*/ 114 h 485"/>
                <a:gd name="T100" fmla="*/ 138 w 429"/>
                <a:gd name="T101" fmla="*/ 241 h 485"/>
                <a:gd name="T102" fmla="*/ 176 w 429"/>
                <a:gd name="T103" fmla="*/ 307 h 485"/>
                <a:gd name="T104" fmla="*/ 202 w 429"/>
                <a:gd name="T105" fmla="*/ 307 h 485"/>
                <a:gd name="T106" fmla="*/ 239 w 429"/>
                <a:gd name="T107" fmla="*/ 241 h 485"/>
                <a:gd name="T108" fmla="*/ 399 w 429"/>
                <a:gd name="T109" fmla="*/ 116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29" h="485">
                  <a:moveTo>
                    <a:pt x="429" y="362"/>
                  </a:moveTo>
                  <a:cubicBezTo>
                    <a:pt x="429" y="101"/>
                    <a:pt x="429" y="101"/>
                    <a:pt x="429" y="101"/>
                  </a:cubicBezTo>
                  <a:cubicBezTo>
                    <a:pt x="429" y="92"/>
                    <a:pt x="422" y="86"/>
                    <a:pt x="414" y="86"/>
                  </a:cubicBezTo>
                  <a:cubicBezTo>
                    <a:pt x="239" y="85"/>
                    <a:pt x="239" y="85"/>
                    <a:pt x="239" y="85"/>
                  </a:cubicBezTo>
                  <a:cubicBezTo>
                    <a:pt x="239" y="15"/>
                    <a:pt x="239" y="15"/>
                    <a:pt x="239" y="15"/>
                  </a:cubicBezTo>
                  <a:cubicBezTo>
                    <a:pt x="239" y="7"/>
                    <a:pt x="232" y="0"/>
                    <a:pt x="224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45" y="0"/>
                    <a:pt x="138" y="7"/>
                    <a:pt x="138" y="15"/>
                  </a:cubicBezTo>
                  <a:cubicBezTo>
                    <a:pt x="138" y="84"/>
                    <a:pt x="138" y="84"/>
                    <a:pt x="138" y="8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8" y="34"/>
                    <a:pt x="111" y="27"/>
                    <a:pt x="103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23" y="27"/>
                    <a:pt x="1" y="49"/>
                    <a:pt x="0" y="7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27"/>
                    <a:pt x="0" y="327"/>
                    <a:pt x="0" y="327"/>
                  </a:cubicBezTo>
                  <a:cubicBezTo>
                    <a:pt x="0" y="327"/>
                    <a:pt x="0" y="327"/>
                    <a:pt x="0" y="327"/>
                  </a:cubicBezTo>
                  <a:cubicBezTo>
                    <a:pt x="0" y="355"/>
                    <a:pt x="22" y="377"/>
                    <a:pt x="50" y="377"/>
                  </a:cubicBezTo>
                  <a:cubicBezTo>
                    <a:pt x="257" y="377"/>
                    <a:pt x="257" y="377"/>
                    <a:pt x="257" y="377"/>
                  </a:cubicBezTo>
                  <a:cubicBezTo>
                    <a:pt x="257" y="469"/>
                    <a:pt x="257" y="469"/>
                    <a:pt x="257" y="469"/>
                  </a:cubicBezTo>
                  <a:cubicBezTo>
                    <a:pt x="257" y="478"/>
                    <a:pt x="264" y="485"/>
                    <a:pt x="273" y="485"/>
                  </a:cubicBezTo>
                  <a:cubicBezTo>
                    <a:pt x="365" y="485"/>
                    <a:pt x="365" y="485"/>
                    <a:pt x="365" y="485"/>
                  </a:cubicBezTo>
                  <a:cubicBezTo>
                    <a:pt x="374" y="485"/>
                    <a:pt x="381" y="478"/>
                    <a:pt x="381" y="469"/>
                  </a:cubicBezTo>
                  <a:cubicBezTo>
                    <a:pt x="381" y="377"/>
                    <a:pt x="381" y="377"/>
                    <a:pt x="381" y="377"/>
                  </a:cubicBezTo>
                  <a:cubicBezTo>
                    <a:pt x="414" y="377"/>
                    <a:pt x="414" y="377"/>
                    <a:pt x="414" y="377"/>
                  </a:cubicBezTo>
                  <a:cubicBezTo>
                    <a:pt x="422" y="377"/>
                    <a:pt x="429" y="371"/>
                    <a:pt x="429" y="362"/>
                  </a:cubicBezTo>
                  <a:close/>
                  <a:moveTo>
                    <a:pt x="169" y="86"/>
                  </a:moveTo>
                  <a:cubicBezTo>
                    <a:pt x="209" y="86"/>
                    <a:pt x="209" y="86"/>
                    <a:pt x="209" y="86"/>
                  </a:cubicBezTo>
                  <a:cubicBezTo>
                    <a:pt x="209" y="236"/>
                    <a:pt x="209" y="236"/>
                    <a:pt x="209" y="236"/>
                  </a:cubicBezTo>
                  <a:cubicBezTo>
                    <a:pt x="189" y="270"/>
                    <a:pt x="189" y="270"/>
                    <a:pt x="189" y="270"/>
                  </a:cubicBezTo>
                  <a:cubicBezTo>
                    <a:pt x="169" y="236"/>
                    <a:pt x="169" y="236"/>
                    <a:pt x="169" y="236"/>
                  </a:cubicBezTo>
                  <a:lnTo>
                    <a:pt x="169" y="86"/>
                  </a:lnTo>
                  <a:close/>
                  <a:moveTo>
                    <a:pt x="209" y="30"/>
                  </a:moveTo>
                  <a:cubicBezTo>
                    <a:pt x="209" y="55"/>
                    <a:pt x="209" y="55"/>
                    <a:pt x="209" y="55"/>
                  </a:cubicBezTo>
                  <a:cubicBezTo>
                    <a:pt x="169" y="55"/>
                    <a:pt x="169" y="55"/>
                    <a:pt x="169" y="55"/>
                  </a:cubicBezTo>
                  <a:cubicBezTo>
                    <a:pt x="169" y="30"/>
                    <a:pt x="169" y="30"/>
                    <a:pt x="169" y="30"/>
                  </a:cubicBezTo>
                  <a:lnTo>
                    <a:pt x="209" y="30"/>
                  </a:lnTo>
                  <a:close/>
                  <a:moveTo>
                    <a:pt x="30" y="77"/>
                  </a:moveTo>
                  <a:cubicBezTo>
                    <a:pt x="30" y="66"/>
                    <a:pt x="39" y="57"/>
                    <a:pt x="50" y="57"/>
                  </a:cubicBezTo>
                  <a:cubicBezTo>
                    <a:pt x="88" y="57"/>
                    <a:pt x="88" y="57"/>
                    <a:pt x="88" y="57"/>
                  </a:cubicBezTo>
                  <a:cubicBezTo>
                    <a:pt x="88" y="259"/>
                    <a:pt x="88" y="259"/>
                    <a:pt x="88" y="259"/>
                  </a:cubicBezTo>
                  <a:cubicBezTo>
                    <a:pt x="50" y="259"/>
                    <a:pt x="50" y="259"/>
                    <a:pt x="50" y="259"/>
                  </a:cubicBezTo>
                  <a:cubicBezTo>
                    <a:pt x="43" y="259"/>
                    <a:pt x="36" y="261"/>
                    <a:pt x="30" y="263"/>
                  </a:cubicBezTo>
                  <a:cubicBezTo>
                    <a:pt x="30" y="84"/>
                    <a:pt x="30" y="84"/>
                    <a:pt x="30" y="84"/>
                  </a:cubicBezTo>
                  <a:lnTo>
                    <a:pt x="30" y="77"/>
                  </a:lnTo>
                  <a:close/>
                  <a:moveTo>
                    <a:pt x="350" y="217"/>
                  </a:moveTo>
                  <a:cubicBezTo>
                    <a:pt x="334" y="217"/>
                    <a:pt x="334" y="217"/>
                    <a:pt x="334" y="217"/>
                  </a:cubicBezTo>
                  <a:cubicBezTo>
                    <a:pt x="326" y="217"/>
                    <a:pt x="319" y="224"/>
                    <a:pt x="319" y="233"/>
                  </a:cubicBezTo>
                  <a:cubicBezTo>
                    <a:pt x="319" y="241"/>
                    <a:pt x="326" y="248"/>
                    <a:pt x="334" y="248"/>
                  </a:cubicBezTo>
                  <a:cubicBezTo>
                    <a:pt x="350" y="248"/>
                    <a:pt x="350" y="248"/>
                    <a:pt x="350" y="248"/>
                  </a:cubicBezTo>
                  <a:cubicBezTo>
                    <a:pt x="350" y="264"/>
                    <a:pt x="350" y="264"/>
                    <a:pt x="350" y="264"/>
                  </a:cubicBezTo>
                  <a:cubicBezTo>
                    <a:pt x="334" y="264"/>
                    <a:pt x="334" y="264"/>
                    <a:pt x="334" y="264"/>
                  </a:cubicBezTo>
                  <a:cubicBezTo>
                    <a:pt x="326" y="264"/>
                    <a:pt x="319" y="271"/>
                    <a:pt x="319" y="279"/>
                  </a:cubicBezTo>
                  <a:cubicBezTo>
                    <a:pt x="319" y="287"/>
                    <a:pt x="326" y="294"/>
                    <a:pt x="334" y="294"/>
                  </a:cubicBezTo>
                  <a:cubicBezTo>
                    <a:pt x="350" y="294"/>
                    <a:pt x="350" y="294"/>
                    <a:pt x="350" y="294"/>
                  </a:cubicBezTo>
                  <a:cubicBezTo>
                    <a:pt x="350" y="310"/>
                    <a:pt x="350" y="310"/>
                    <a:pt x="350" y="310"/>
                  </a:cubicBezTo>
                  <a:cubicBezTo>
                    <a:pt x="334" y="310"/>
                    <a:pt x="334" y="310"/>
                    <a:pt x="334" y="310"/>
                  </a:cubicBezTo>
                  <a:cubicBezTo>
                    <a:pt x="326" y="310"/>
                    <a:pt x="319" y="317"/>
                    <a:pt x="319" y="325"/>
                  </a:cubicBezTo>
                  <a:cubicBezTo>
                    <a:pt x="319" y="333"/>
                    <a:pt x="326" y="340"/>
                    <a:pt x="334" y="340"/>
                  </a:cubicBezTo>
                  <a:cubicBezTo>
                    <a:pt x="350" y="340"/>
                    <a:pt x="350" y="340"/>
                    <a:pt x="350" y="340"/>
                  </a:cubicBezTo>
                  <a:cubicBezTo>
                    <a:pt x="350" y="356"/>
                    <a:pt x="350" y="356"/>
                    <a:pt x="350" y="356"/>
                  </a:cubicBezTo>
                  <a:cubicBezTo>
                    <a:pt x="334" y="356"/>
                    <a:pt x="334" y="356"/>
                    <a:pt x="334" y="356"/>
                  </a:cubicBezTo>
                  <a:cubicBezTo>
                    <a:pt x="326" y="356"/>
                    <a:pt x="319" y="363"/>
                    <a:pt x="319" y="371"/>
                  </a:cubicBezTo>
                  <a:cubicBezTo>
                    <a:pt x="319" y="379"/>
                    <a:pt x="326" y="386"/>
                    <a:pt x="334" y="386"/>
                  </a:cubicBezTo>
                  <a:cubicBezTo>
                    <a:pt x="350" y="386"/>
                    <a:pt x="350" y="386"/>
                    <a:pt x="350" y="386"/>
                  </a:cubicBezTo>
                  <a:cubicBezTo>
                    <a:pt x="350" y="417"/>
                    <a:pt x="350" y="417"/>
                    <a:pt x="350" y="417"/>
                  </a:cubicBezTo>
                  <a:cubicBezTo>
                    <a:pt x="348" y="402"/>
                    <a:pt x="335" y="391"/>
                    <a:pt x="319" y="391"/>
                  </a:cubicBezTo>
                  <a:cubicBezTo>
                    <a:pt x="303" y="391"/>
                    <a:pt x="290" y="402"/>
                    <a:pt x="288" y="417"/>
                  </a:cubicBezTo>
                  <a:cubicBezTo>
                    <a:pt x="288" y="195"/>
                    <a:pt x="288" y="195"/>
                    <a:pt x="288" y="195"/>
                  </a:cubicBezTo>
                  <a:cubicBezTo>
                    <a:pt x="350" y="195"/>
                    <a:pt x="350" y="195"/>
                    <a:pt x="350" y="195"/>
                  </a:cubicBezTo>
                  <a:lnTo>
                    <a:pt x="350" y="217"/>
                  </a:lnTo>
                  <a:close/>
                  <a:moveTo>
                    <a:pt x="321" y="422"/>
                  </a:moveTo>
                  <a:cubicBezTo>
                    <a:pt x="321" y="423"/>
                    <a:pt x="320" y="424"/>
                    <a:pt x="319" y="424"/>
                  </a:cubicBezTo>
                  <a:cubicBezTo>
                    <a:pt x="318" y="424"/>
                    <a:pt x="318" y="423"/>
                    <a:pt x="318" y="422"/>
                  </a:cubicBezTo>
                  <a:cubicBezTo>
                    <a:pt x="318" y="422"/>
                    <a:pt x="318" y="421"/>
                    <a:pt x="319" y="421"/>
                  </a:cubicBezTo>
                  <a:cubicBezTo>
                    <a:pt x="320" y="421"/>
                    <a:pt x="321" y="422"/>
                    <a:pt x="321" y="422"/>
                  </a:cubicBezTo>
                  <a:close/>
                  <a:moveTo>
                    <a:pt x="319" y="454"/>
                  </a:moveTo>
                  <a:cubicBezTo>
                    <a:pt x="288" y="454"/>
                    <a:pt x="288" y="454"/>
                    <a:pt x="288" y="454"/>
                  </a:cubicBezTo>
                  <a:cubicBezTo>
                    <a:pt x="288" y="428"/>
                    <a:pt x="288" y="428"/>
                    <a:pt x="288" y="428"/>
                  </a:cubicBezTo>
                  <a:cubicBezTo>
                    <a:pt x="290" y="443"/>
                    <a:pt x="303" y="454"/>
                    <a:pt x="319" y="454"/>
                  </a:cubicBezTo>
                  <a:cubicBezTo>
                    <a:pt x="335" y="454"/>
                    <a:pt x="348" y="443"/>
                    <a:pt x="350" y="428"/>
                  </a:cubicBezTo>
                  <a:cubicBezTo>
                    <a:pt x="350" y="454"/>
                    <a:pt x="350" y="454"/>
                    <a:pt x="350" y="454"/>
                  </a:cubicBezTo>
                  <a:lnTo>
                    <a:pt x="319" y="454"/>
                  </a:lnTo>
                  <a:close/>
                  <a:moveTo>
                    <a:pt x="399" y="347"/>
                  </a:moveTo>
                  <a:cubicBezTo>
                    <a:pt x="381" y="347"/>
                    <a:pt x="381" y="347"/>
                    <a:pt x="381" y="347"/>
                  </a:cubicBezTo>
                  <a:cubicBezTo>
                    <a:pt x="381" y="180"/>
                    <a:pt x="381" y="180"/>
                    <a:pt x="381" y="180"/>
                  </a:cubicBezTo>
                  <a:cubicBezTo>
                    <a:pt x="381" y="172"/>
                    <a:pt x="374" y="165"/>
                    <a:pt x="365" y="165"/>
                  </a:cubicBezTo>
                  <a:cubicBezTo>
                    <a:pt x="273" y="165"/>
                    <a:pt x="273" y="165"/>
                    <a:pt x="273" y="165"/>
                  </a:cubicBezTo>
                  <a:cubicBezTo>
                    <a:pt x="264" y="165"/>
                    <a:pt x="257" y="172"/>
                    <a:pt x="257" y="180"/>
                  </a:cubicBezTo>
                  <a:cubicBezTo>
                    <a:pt x="257" y="347"/>
                    <a:pt x="257" y="347"/>
                    <a:pt x="257" y="347"/>
                  </a:cubicBezTo>
                  <a:cubicBezTo>
                    <a:pt x="50" y="347"/>
                    <a:pt x="50" y="347"/>
                    <a:pt x="50" y="347"/>
                  </a:cubicBezTo>
                  <a:cubicBezTo>
                    <a:pt x="39" y="347"/>
                    <a:pt x="30" y="338"/>
                    <a:pt x="30" y="327"/>
                  </a:cubicBezTo>
                  <a:cubicBezTo>
                    <a:pt x="30" y="309"/>
                    <a:pt x="30" y="309"/>
                    <a:pt x="30" y="309"/>
                  </a:cubicBezTo>
                  <a:cubicBezTo>
                    <a:pt x="30" y="298"/>
                    <a:pt x="39" y="290"/>
                    <a:pt x="50" y="290"/>
                  </a:cubicBezTo>
                  <a:cubicBezTo>
                    <a:pt x="103" y="290"/>
                    <a:pt x="103" y="290"/>
                    <a:pt x="103" y="290"/>
                  </a:cubicBezTo>
                  <a:cubicBezTo>
                    <a:pt x="111" y="290"/>
                    <a:pt x="118" y="283"/>
                    <a:pt x="118" y="274"/>
                  </a:cubicBezTo>
                  <a:cubicBezTo>
                    <a:pt x="118" y="114"/>
                    <a:pt x="118" y="114"/>
                    <a:pt x="118" y="114"/>
                  </a:cubicBezTo>
                  <a:cubicBezTo>
                    <a:pt x="138" y="114"/>
                    <a:pt x="138" y="114"/>
                    <a:pt x="138" y="114"/>
                  </a:cubicBezTo>
                  <a:cubicBezTo>
                    <a:pt x="138" y="241"/>
                    <a:pt x="138" y="241"/>
                    <a:pt x="138" y="241"/>
                  </a:cubicBezTo>
                  <a:cubicBezTo>
                    <a:pt x="138" y="243"/>
                    <a:pt x="139" y="246"/>
                    <a:pt x="140" y="248"/>
                  </a:cubicBezTo>
                  <a:cubicBezTo>
                    <a:pt x="176" y="307"/>
                    <a:pt x="176" y="307"/>
                    <a:pt x="176" y="307"/>
                  </a:cubicBezTo>
                  <a:cubicBezTo>
                    <a:pt x="179" y="312"/>
                    <a:pt x="183" y="314"/>
                    <a:pt x="189" y="314"/>
                  </a:cubicBezTo>
                  <a:cubicBezTo>
                    <a:pt x="194" y="314"/>
                    <a:pt x="199" y="312"/>
                    <a:pt x="202" y="307"/>
                  </a:cubicBezTo>
                  <a:cubicBezTo>
                    <a:pt x="237" y="248"/>
                    <a:pt x="237" y="248"/>
                    <a:pt x="237" y="248"/>
                  </a:cubicBezTo>
                  <a:cubicBezTo>
                    <a:pt x="239" y="246"/>
                    <a:pt x="239" y="243"/>
                    <a:pt x="239" y="241"/>
                  </a:cubicBezTo>
                  <a:cubicBezTo>
                    <a:pt x="239" y="115"/>
                    <a:pt x="239" y="115"/>
                    <a:pt x="239" y="115"/>
                  </a:cubicBezTo>
                  <a:cubicBezTo>
                    <a:pt x="399" y="116"/>
                    <a:pt x="399" y="116"/>
                    <a:pt x="399" y="116"/>
                  </a:cubicBezTo>
                  <a:lnTo>
                    <a:pt x="399" y="34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74045" tIns="37022" rIns="74045" bIns="37022" numCol="1" anchor="t" anchorCtr="0" compatLnSpc="1">
              <a:prstTxWarp prst="textNoShape">
                <a:avLst/>
              </a:prstTxWarp>
            </a:bodyPr>
            <a:lstStyle/>
            <a:p>
              <a:pPr defTabSz="82268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37">
                <a:solidFill>
                  <a:prstClr val="black"/>
                </a:solidFill>
                <a:latin typeface="Roboto" pitchFamily="2" charset="0"/>
                <a:ea typeface="Roboto" pitchFamily="2" charset="0"/>
              </a:endParaRP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A9B69897-22DC-41DF-8E9D-9B2D634471C8}"/>
              </a:ext>
            </a:extLst>
          </p:cNvPr>
          <p:cNvGrpSpPr/>
          <p:nvPr/>
        </p:nvGrpSpPr>
        <p:grpSpPr>
          <a:xfrm>
            <a:off x="6685870" y="1863390"/>
            <a:ext cx="613544" cy="613543"/>
            <a:chOff x="7187215" y="2060538"/>
            <a:chExt cx="914400" cy="914400"/>
          </a:xfrm>
        </p:grpSpPr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DC839222-6740-46C0-9B29-352ACF46360A}"/>
                </a:ext>
              </a:extLst>
            </p:cNvPr>
            <p:cNvSpPr/>
            <p:nvPr/>
          </p:nvSpPr>
          <p:spPr>
            <a:xfrm>
              <a:off x="7187215" y="2060538"/>
              <a:ext cx="914400" cy="9144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2268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37">
                <a:solidFill>
                  <a:prstClr val="white"/>
                </a:solidFill>
                <a:latin typeface="Roboto" pitchFamily="2" charset="0"/>
                <a:ea typeface="Roboto" pitchFamily="2" charset="0"/>
              </a:endParaRPr>
            </a:p>
          </p:txBody>
        </p:sp>
        <p:sp>
          <p:nvSpPr>
            <p:cNvPr id="87" name="Freeform 69">
              <a:extLst>
                <a:ext uri="{FF2B5EF4-FFF2-40B4-BE49-F238E27FC236}">
                  <a16:creationId xmlns:a16="http://schemas.microsoft.com/office/drawing/2014/main" id="{BC74E772-3560-4A92-A987-CCB519C29C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37794" y="2311119"/>
              <a:ext cx="413242" cy="413238"/>
            </a:xfrm>
            <a:custGeom>
              <a:avLst/>
              <a:gdLst>
                <a:gd name="T0" fmla="*/ 242 w 485"/>
                <a:gd name="T1" fmla="*/ 485 h 485"/>
                <a:gd name="T2" fmla="*/ 485 w 485"/>
                <a:gd name="T3" fmla="*/ 243 h 485"/>
                <a:gd name="T4" fmla="*/ 242 w 485"/>
                <a:gd name="T5" fmla="*/ 0 h 485"/>
                <a:gd name="T6" fmla="*/ 0 w 485"/>
                <a:gd name="T7" fmla="*/ 243 h 485"/>
                <a:gd name="T8" fmla="*/ 242 w 485"/>
                <a:gd name="T9" fmla="*/ 485 h 485"/>
                <a:gd name="T10" fmla="*/ 242 w 485"/>
                <a:gd name="T11" fmla="*/ 451 h 485"/>
                <a:gd name="T12" fmla="*/ 62 w 485"/>
                <a:gd name="T13" fmla="*/ 346 h 485"/>
                <a:gd name="T14" fmla="*/ 184 w 485"/>
                <a:gd name="T15" fmla="*/ 346 h 485"/>
                <a:gd name="T16" fmla="*/ 242 w 485"/>
                <a:gd name="T17" fmla="*/ 386 h 485"/>
                <a:gd name="T18" fmla="*/ 300 w 485"/>
                <a:gd name="T19" fmla="*/ 346 h 485"/>
                <a:gd name="T20" fmla="*/ 422 w 485"/>
                <a:gd name="T21" fmla="*/ 346 h 485"/>
                <a:gd name="T22" fmla="*/ 242 w 485"/>
                <a:gd name="T23" fmla="*/ 451 h 485"/>
                <a:gd name="T24" fmla="*/ 63 w 485"/>
                <a:gd name="T25" fmla="*/ 226 h 485"/>
                <a:gd name="T26" fmla="*/ 35 w 485"/>
                <a:gd name="T27" fmla="*/ 226 h 485"/>
                <a:gd name="T28" fmla="*/ 84 w 485"/>
                <a:gd name="T29" fmla="*/ 109 h 485"/>
                <a:gd name="T30" fmla="*/ 103 w 485"/>
                <a:gd name="T31" fmla="*/ 128 h 485"/>
                <a:gd name="T32" fmla="*/ 115 w 485"/>
                <a:gd name="T33" fmla="*/ 133 h 485"/>
                <a:gd name="T34" fmla="*/ 127 w 485"/>
                <a:gd name="T35" fmla="*/ 128 h 485"/>
                <a:gd name="T36" fmla="*/ 127 w 485"/>
                <a:gd name="T37" fmla="*/ 103 h 485"/>
                <a:gd name="T38" fmla="*/ 108 w 485"/>
                <a:gd name="T39" fmla="*/ 84 h 485"/>
                <a:gd name="T40" fmla="*/ 225 w 485"/>
                <a:gd name="T41" fmla="*/ 36 h 485"/>
                <a:gd name="T42" fmla="*/ 225 w 485"/>
                <a:gd name="T43" fmla="*/ 63 h 485"/>
                <a:gd name="T44" fmla="*/ 242 w 485"/>
                <a:gd name="T45" fmla="*/ 80 h 485"/>
                <a:gd name="T46" fmla="*/ 259 w 485"/>
                <a:gd name="T47" fmla="*/ 63 h 485"/>
                <a:gd name="T48" fmla="*/ 259 w 485"/>
                <a:gd name="T49" fmla="*/ 36 h 485"/>
                <a:gd name="T50" fmla="*/ 376 w 485"/>
                <a:gd name="T51" fmla="*/ 84 h 485"/>
                <a:gd name="T52" fmla="*/ 357 w 485"/>
                <a:gd name="T53" fmla="*/ 103 h 485"/>
                <a:gd name="T54" fmla="*/ 357 w 485"/>
                <a:gd name="T55" fmla="*/ 128 h 485"/>
                <a:gd name="T56" fmla="*/ 369 w 485"/>
                <a:gd name="T57" fmla="*/ 133 h 485"/>
                <a:gd name="T58" fmla="*/ 382 w 485"/>
                <a:gd name="T59" fmla="*/ 128 h 485"/>
                <a:gd name="T60" fmla="*/ 401 w 485"/>
                <a:gd name="T61" fmla="*/ 109 h 485"/>
                <a:gd name="T62" fmla="*/ 449 w 485"/>
                <a:gd name="T63" fmla="*/ 226 h 485"/>
                <a:gd name="T64" fmla="*/ 422 w 485"/>
                <a:gd name="T65" fmla="*/ 226 h 485"/>
                <a:gd name="T66" fmla="*/ 404 w 485"/>
                <a:gd name="T67" fmla="*/ 243 h 485"/>
                <a:gd name="T68" fmla="*/ 422 w 485"/>
                <a:gd name="T69" fmla="*/ 260 h 485"/>
                <a:gd name="T70" fmla="*/ 449 w 485"/>
                <a:gd name="T71" fmla="*/ 260 h 485"/>
                <a:gd name="T72" fmla="*/ 438 w 485"/>
                <a:gd name="T73" fmla="*/ 312 h 485"/>
                <a:gd name="T74" fmla="*/ 303 w 485"/>
                <a:gd name="T75" fmla="*/ 312 h 485"/>
                <a:gd name="T76" fmla="*/ 259 w 485"/>
                <a:gd name="T77" fmla="*/ 264 h 485"/>
                <a:gd name="T78" fmla="*/ 259 w 485"/>
                <a:gd name="T79" fmla="*/ 166 h 485"/>
                <a:gd name="T80" fmla="*/ 242 w 485"/>
                <a:gd name="T81" fmla="*/ 149 h 485"/>
                <a:gd name="T82" fmla="*/ 225 w 485"/>
                <a:gd name="T83" fmla="*/ 166 h 485"/>
                <a:gd name="T84" fmla="*/ 225 w 485"/>
                <a:gd name="T85" fmla="*/ 264 h 485"/>
                <a:gd name="T86" fmla="*/ 181 w 485"/>
                <a:gd name="T87" fmla="*/ 312 h 485"/>
                <a:gd name="T88" fmla="*/ 46 w 485"/>
                <a:gd name="T89" fmla="*/ 312 h 485"/>
                <a:gd name="T90" fmla="*/ 35 w 485"/>
                <a:gd name="T91" fmla="*/ 260 h 485"/>
                <a:gd name="T92" fmla="*/ 63 w 485"/>
                <a:gd name="T93" fmla="*/ 260 h 485"/>
                <a:gd name="T94" fmla="*/ 80 w 485"/>
                <a:gd name="T95" fmla="*/ 243 h 485"/>
                <a:gd name="T96" fmla="*/ 63 w 485"/>
                <a:gd name="T97" fmla="*/ 226 h 485"/>
                <a:gd name="T98" fmla="*/ 242 w 485"/>
                <a:gd name="T99" fmla="*/ 296 h 485"/>
                <a:gd name="T100" fmla="*/ 270 w 485"/>
                <a:gd name="T101" fmla="*/ 323 h 485"/>
                <a:gd name="T102" fmla="*/ 242 w 485"/>
                <a:gd name="T103" fmla="*/ 351 h 485"/>
                <a:gd name="T104" fmla="*/ 214 w 485"/>
                <a:gd name="T105" fmla="*/ 323 h 485"/>
                <a:gd name="T106" fmla="*/ 242 w 485"/>
                <a:gd name="T107" fmla="*/ 296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85" h="485">
                  <a:moveTo>
                    <a:pt x="242" y="485"/>
                  </a:moveTo>
                  <a:cubicBezTo>
                    <a:pt x="376" y="485"/>
                    <a:pt x="485" y="376"/>
                    <a:pt x="485" y="243"/>
                  </a:cubicBezTo>
                  <a:cubicBezTo>
                    <a:pt x="485" y="109"/>
                    <a:pt x="376" y="0"/>
                    <a:pt x="242" y="0"/>
                  </a:cubicBezTo>
                  <a:cubicBezTo>
                    <a:pt x="108" y="0"/>
                    <a:pt x="0" y="109"/>
                    <a:pt x="0" y="243"/>
                  </a:cubicBezTo>
                  <a:cubicBezTo>
                    <a:pt x="0" y="376"/>
                    <a:pt x="108" y="485"/>
                    <a:pt x="242" y="485"/>
                  </a:cubicBezTo>
                  <a:close/>
                  <a:moveTo>
                    <a:pt x="242" y="451"/>
                  </a:moveTo>
                  <a:cubicBezTo>
                    <a:pt x="165" y="451"/>
                    <a:pt x="98" y="409"/>
                    <a:pt x="62" y="346"/>
                  </a:cubicBezTo>
                  <a:cubicBezTo>
                    <a:pt x="184" y="346"/>
                    <a:pt x="184" y="346"/>
                    <a:pt x="184" y="346"/>
                  </a:cubicBezTo>
                  <a:cubicBezTo>
                    <a:pt x="194" y="369"/>
                    <a:pt x="216" y="386"/>
                    <a:pt x="242" y="386"/>
                  </a:cubicBezTo>
                  <a:cubicBezTo>
                    <a:pt x="268" y="386"/>
                    <a:pt x="291" y="369"/>
                    <a:pt x="300" y="346"/>
                  </a:cubicBezTo>
                  <a:cubicBezTo>
                    <a:pt x="422" y="346"/>
                    <a:pt x="422" y="346"/>
                    <a:pt x="422" y="346"/>
                  </a:cubicBezTo>
                  <a:cubicBezTo>
                    <a:pt x="386" y="409"/>
                    <a:pt x="319" y="451"/>
                    <a:pt x="242" y="451"/>
                  </a:cubicBezTo>
                  <a:close/>
                  <a:moveTo>
                    <a:pt x="63" y="226"/>
                  </a:moveTo>
                  <a:cubicBezTo>
                    <a:pt x="35" y="226"/>
                    <a:pt x="35" y="226"/>
                    <a:pt x="35" y="226"/>
                  </a:cubicBezTo>
                  <a:cubicBezTo>
                    <a:pt x="39" y="181"/>
                    <a:pt x="56" y="141"/>
                    <a:pt x="84" y="109"/>
                  </a:cubicBezTo>
                  <a:cubicBezTo>
                    <a:pt x="103" y="128"/>
                    <a:pt x="103" y="128"/>
                    <a:pt x="103" y="128"/>
                  </a:cubicBezTo>
                  <a:cubicBezTo>
                    <a:pt x="106" y="131"/>
                    <a:pt x="110" y="133"/>
                    <a:pt x="115" y="133"/>
                  </a:cubicBezTo>
                  <a:cubicBezTo>
                    <a:pt x="119" y="133"/>
                    <a:pt x="124" y="131"/>
                    <a:pt x="127" y="128"/>
                  </a:cubicBezTo>
                  <a:cubicBezTo>
                    <a:pt x="134" y="121"/>
                    <a:pt x="134" y="110"/>
                    <a:pt x="127" y="103"/>
                  </a:cubicBezTo>
                  <a:cubicBezTo>
                    <a:pt x="108" y="84"/>
                    <a:pt x="108" y="84"/>
                    <a:pt x="108" y="84"/>
                  </a:cubicBezTo>
                  <a:cubicBezTo>
                    <a:pt x="140" y="57"/>
                    <a:pt x="181" y="39"/>
                    <a:pt x="225" y="36"/>
                  </a:cubicBezTo>
                  <a:cubicBezTo>
                    <a:pt x="225" y="63"/>
                    <a:pt x="225" y="63"/>
                    <a:pt x="225" y="63"/>
                  </a:cubicBezTo>
                  <a:cubicBezTo>
                    <a:pt x="225" y="73"/>
                    <a:pt x="233" y="80"/>
                    <a:pt x="242" y="80"/>
                  </a:cubicBezTo>
                  <a:cubicBezTo>
                    <a:pt x="252" y="80"/>
                    <a:pt x="259" y="73"/>
                    <a:pt x="259" y="63"/>
                  </a:cubicBezTo>
                  <a:cubicBezTo>
                    <a:pt x="259" y="36"/>
                    <a:pt x="259" y="36"/>
                    <a:pt x="259" y="36"/>
                  </a:cubicBezTo>
                  <a:cubicBezTo>
                    <a:pt x="304" y="39"/>
                    <a:pt x="344" y="57"/>
                    <a:pt x="376" y="84"/>
                  </a:cubicBezTo>
                  <a:cubicBezTo>
                    <a:pt x="357" y="103"/>
                    <a:pt x="357" y="103"/>
                    <a:pt x="357" y="103"/>
                  </a:cubicBezTo>
                  <a:cubicBezTo>
                    <a:pt x="350" y="110"/>
                    <a:pt x="350" y="121"/>
                    <a:pt x="357" y="128"/>
                  </a:cubicBezTo>
                  <a:cubicBezTo>
                    <a:pt x="361" y="131"/>
                    <a:pt x="365" y="133"/>
                    <a:pt x="369" y="133"/>
                  </a:cubicBezTo>
                  <a:cubicBezTo>
                    <a:pt x="374" y="133"/>
                    <a:pt x="378" y="131"/>
                    <a:pt x="382" y="128"/>
                  </a:cubicBezTo>
                  <a:cubicBezTo>
                    <a:pt x="401" y="109"/>
                    <a:pt x="401" y="109"/>
                    <a:pt x="401" y="109"/>
                  </a:cubicBezTo>
                  <a:cubicBezTo>
                    <a:pt x="428" y="141"/>
                    <a:pt x="446" y="181"/>
                    <a:pt x="449" y="226"/>
                  </a:cubicBezTo>
                  <a:cubicBezTo>
                    <a:pt x="422" y="226"/>
                    <a:pt x="422" y="226"/>
                    <a:pt x="422" y="226"/>
                  </a:cubicBezTo>
                  <a:cubicBezTo>
                    <a:pt x="412" y="226"/>
                    <a:pt x="404" y="233"/>
                    <a:pt x="404" y="243"/>
                  </a:cubicBezTo>
                  <a:cubicBezTo>
                    <a:pt x="404" y="252"/>
                    <a:pt x="412" y="260"/>
                    <a:pt x="422" y="260"/>
                  </a:cubicBezTo>
                  <a:cubicBezTo>
                    <a:pt x="449" y="260"/>
                    <a:pt x="449" y="260"/>
                    <a:pt x="449" y="260"/>
                  </a:cubicBezTo>
                  <a:cubicBezTo>
                    <a:pt x="448" y="278"/>
                    <a:pt x="444" y="295"/>
                    <a:pt x="438" y="312"/>
                  </a:cubicBezTo>
                  <a:cubicBezTo>
                    <a:pt x="303" y="312"/>
                    <a:pt x="303" y="312"/>
                    <a:pt x="303" y="312"/>
                  </a:cubicBezTo>
                  <a:cubicBezTo>
                    <a:pt x="299" y="289"/>
                    <a:pt x="282" y="270"/>
                    <a:pt x="259" y="264"/>
                  </a:cubicBezTo>
                  <a:cubicBezTo>
                    <a:pt x="259" y="166"/>
                    <a:pt x="259" y="166"/>
                    <a:pt x="259" y="166"/>
                  </a:cubicBezTo>
                  <a:cubicBezTo>
                    <a:pt x="259" y="157"/>
                    <a:pt x="252" y="149"/>
                    <a:pt x="242" y="149"/>
                  </a:cubicBezTo>
                  <a:cubicBezTo>
                    <a:pt x="233" y="149"/>
                    <a:pt x="225" y="157"/>
                    <a:pt x="225" y="166"/>
                  </a:cubicBezTo>
                  <a:cubicBezTo>
                    <a:pt x="225" y="264"/>
                    <a:pt x="225" y="264"/>
                    <a:pt x="225" y="264"/>
                  </a:cubicBezTo>
                  <a:cubicBezTo>
                    <a:pt x="203" y="270"/>
                    <a:pt x="185" y="289"/>
                    <a:pt x="181" y="312"/>
                  </a:cubicBezTo>
                  <a:cubicBezTo>
                    <a:pt x="46" y="312"/>
                    <a:pt x="46" y="312"/>
                    <a:pt x="46" y="312"/>
                  </a:cubicBezTo>
                  <a:cubicBezTo>
                    <a:pt x="40" y="295"/>
                    <a:pt x="37" y="278"/>
                    <a:pt x="35" y="260"/>
                  </a:cubicBezTo>
                  <a:cubicBezTo>
                    <a:pt x="63" y="260"/>
                    <a:pt x="63" y="260"/>
                    <a:pt x="63" y="260"/>
                  </a:cubicBezTo>
                  <a:cubicBezTo>
                    <a:pt x="72" y="260"/>
                    <a:pt x="80" y="252"/>
                    <a:pt x="80" y="243"/>
                  </a:cubicBezTo>
                  <a:cubicBezTo>
                    <a:pt x="80" y="233"/>
                    <a:pt x="72" y="226"/>
                    <a:pt x="63" y="226"/>
                  </a:cubicBezTo>
                  <a:close/>
                  <a:moveTo>
                    <a:pt x="242" y="296"/>
                  </a:moveTo>
                  <a:cubicBezTo>
                    <a:pt x="257" y="296"/>
                    <a:pt x="270" y="308"/>
                    <a:pt x="270" y="323"/>
                  </a:cubicBezTo>
                  <a:cubicBezTo>
                    <a:pt x="270" y="339"/>
                    <a:pt x="257" y="351"/>
                    <a:pt x="242" y="351"/>
                  </a:cubicBezTo>
                  <a:cubicBezTo>
                    <a:pt x="227" y="351"/>
                    <a:pt x="214" y="339"/>
                    <a:pt x="214" y="323"/>
                  </a:cubicBezTo>
                  <a:cubicBezTo>
                    <a:pt x="214" y="308"/>
                    <a:pt x="227" y="296"/>
                    <a:pt x="242" y="29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74045" tIns="37022" rIns="74045" bIns="37022" numCol="1" anchor="t" anchorCtr="0" compatLnSpc="1">
              <a:prstTxWarp prst="textNoShape">
                <a:avLst/>
              </a:prstTxWarp>
            </a:bodyPr>
            <a:lstStyle/>
            <a:p>
              <a:pPr defTabSz="82268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37">
                <a:solidFill>
                  <a:prstClr val="black"/>
                </a:solidFill>
                <a:latin typeface="Roboto" pitchFamily="2" charset="0"/>
                <a:ea typeface="Roboto" pitchFamily="2" charset="0"/>
              </a:endParaRPr>
            </a:p>
          </p:txBody>
        </p:sp>
      </p:grp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4CF90484-FB8E-4495-AF56-E418D9F2FB41}"/>
              </a:ext>
            </a:extLst>
          </p:cNvPr>
          <p:cNvCxnSpPr/>
          <p:nvPr/>
        </p:nvCxnSpPr>
        <p:spPr>
          <a:xfrm>
            <a:off x="9173119" y="3346066"/>
            <a:ext cx="0" cy="237300"/>
          </a:xfrm>
          <a:prstGeom prst="line">
            <a:avLst/>
          </a:prstGeom>
          <a:solidFill>
            <a:schemeClr val="accent3"/>
          </a:solidFill>
          <a:ln w="381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Freeform 58">
            <a:extLst>
              <a:ext uri="{FF2B5EF4-FFF2-40B4-BE49-F238E27FC236}">
                <a16:creationId xmlns:a16="http://schemas.microsoft.com/office/drawing/2014/main" id="{C7E74DEA-80D1-4B9D-AB11-14AB79C1BC6D}"/>
              </a:ext>
            </a:extLst>
          </p:cNvPr>
          <p:cNvSpPr/>
          <p:nvPr/>
        </p:nvSpPr>
        <p:spPr>
          <a:xfrm>
            <a:off x="7903212" y="3085307"/>
            <a:ext cx="1420839" cy="260757"/>
          </a:xfrm>
          <a:custGeom>
            <a:avLst/>
            <a:gdLst>
              <a:gd name="connsiteX0" fmla="*/ 0 w 2117558"/>
              <a:gd name="connsiteY0" fmla="*/ 0 h 388621"/>
              <a:gd name="connsiteX1" fmla="*/ 2117558 w 2117558"/>
              <a:gd name="connsiteY1" fmla="*/ 0 h 388621"/>
              <a:gd name="connsiteX2" fmla="*/ 2117558 w 2117558"/>
              <a:gd name="connsiteY2" fmla="*/ 282963 h 388621"/>
              <a:gd name="connsiteX3" fmla="*/ 2011900 w 2117558"/>
              <a:gd name="connsiteY3" fmla="*/ 388621 h 388621"/>
              <a:gd name="connsiteX4" fmla="*/ 105658 w 2117558"/>
              <a:gd name="connsiteY4" fmla="*/ 388621 h 388621"/>
              <a:gd name="connsiteX5" fmla="*/ 0 w 2117558"/>
              <a:gd name="connsiteY5" fmla="*/ 282963 h 388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17558" h="388621">
                <a:moveTo>
                  <a:pt x="0" y="0"/>
                </a:moveTo>
                <a:lnTo>
                  <a:pt x="2117558" y="0"/>
                </a:lnTo>
                <a:lnTo>
                  <a:pt x="2117558" y="282963"/>
                </a:lnTo>
                <a:cubicBezTo>
                  <a:pt x="2117558" y="341316"/>
                  <a:pt x="2070253" y="388621"/>
                  <a:pt x="2011900" y="388621"/>
                </a:cubicBezTo>
                <a:lnTo>
                  <a:pt x="105658" y="388621"/>
                </a:lnTo>
                <a:cubicBezTo>
                  <a:pt x="47305" y="388621"/>
                  <a:pt x="0" y="341316"/>
                  <a:pt x="0" y="282963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8090" rtlCol="0" anchor="ctr"/>
          <a:lstStyle/>
          <a:p>
            <a:pPr marL="231381" indent="-231381" defTabSz="822686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60" b="1">
                <a:solidFill>
                  <a:prstClr val="white"/>
                </a:solidFill>
                <a:latin typeface="Roboto" pitchFamily="2" charset="0"/>
                <a:ea typeface="Roboto" pitchFamily="2" charset="0"/>
              </a:rPr>
              <a:t>2026-TBD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A2E47C6A-5FB2-4A46-8EC6-CB44EDCC79C6}"/>
              </a:ext>
            </a:extLst>
          </p:cNvPr>
          <p:cNvGrpSpPr/>
          <p:nvPr/>
        </p:nvGrpSpPr>
        <p:grpSpPr>
          <a:xfrm>
            <a:off x="8866347" y="3693680"/>
            <a:ext cx="613544" cy="613543"/>
            <a:chOff x="7270333" y="4788328"/>
            <a:chExt cx="914400" cy="914400"/>
          </a:xfrm>
        </p:grpSpPr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E17FFF03-0FA6-49FE-A478-ABEBC6BDB3FB}"/>
                </a:ext>
              </a:extLst>
            </p:cNvPr>
            <p:cNvSpPr/>
            <p:nvPr/>
          </p:nvSpPr>
          <p:spPr>
            <a:xfrm flipV="1">
              <a:off x="7270333" y="4788328"/>
              <a:ext cx="914400" cy="9144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2268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37">
                <a:solidFill>
                  <a:prstClr val="white"/>
                </a:solidFill>
                <a:latin typeface="Roboto" pitchFamily="2" charset="0"/>
                <a:ea typeface="Roboto" pitchFamily="2" charset="0"/>
              </a:endParaRPr>
            </a:p>
          </p:txBody>
        </p:sp>
        <p:sp>
          <p:nvSpPr>
            <p:cNvPr id="92" name="Freeform 46">
              <a:extLst>
                <a:ext uri="{FF2B5EF4-FFF2-40B4-BE49-F238E27FC236}">
                  <a16:creationId xmlns:a16="http://schemas.microsoft.com/office/drawing/2014/main" id="{A079757A-D3BF-4D4A-9EDF-D02218084B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44916" y="5038911"/>
              <a:ext cx="365234" cy="413234"/>
            </a:xfrm>
            <a:custGeom>
              <a:avLst/>
              <a:gdLst>
                <a:gd name="T0" fmla="*/ 429 w 429"/>
                <a:gd name="T1" fmla="*/ 101 h 485"/>
                <a:gd name="T2" fmla="*/ 239 w 429"/>
                <a:gd name="T3" fmla="*/ 85 h 485"/>
                <a:gd name="T4" fmla="*/ 224 w 429"/>
                <a:gd name="T5" fmla="*/ 0 h 485"/>
                <a:gd name="T6" fmla="*/ 138 w 429"/>
                <a:gd name="T7" fmla="*/ 15 h 485"/>
                <a:gd name="T8" fmla="*/ 118 w 429"/>
                <a:gd name="T9" fmla="*/ 84 h 485"/>
                <a:gd name="T10" fmla="*/ 103 w 429"/>
                <a:gd name="T11" fmla="*/ 27 h 485"/>
                <a:gd name="T12" fmla="*/ 0 w 429"/>
                <a:gd name="T13" fmla="*/ 76 h 485"/>
                <a:gd name="T14" fmla="*/ 0 w 429"/>
                <a:gd name="T15" fmla="*/ 77 h 485"/>
                <a:gd name="T16" fmla="*/ 0 w 429"/>
                <a:gd name="T17" fmla="*/ 309 h 485"/>
                <a:gd name="T18" fmla="*/ 0 w 429"/>
                <a:gd name="T19" fmla="*/ 327 h 485"/>
                <a:gd name="T20" fmla="*/ 257 w 429"/>
                <a:gd name="T21" fmla="*/ 377 h 485"/>
                <a:gd name="T22" fmla="*/ 273 w 429"/>
                <a:gd name="T23" fmla="*/ 485 h 485"/>
                <a:gd name="T24" fmla="*/ 381 w 429"/>
                <a:gd name="T25" fmla="*/ 469 h 485"/>
                <a:gd name="T26" fmla="*/ 414 w 429"/>
                <a:gd name="T27" fmla="*/ 377 h 485"/>
                <a:gd name="T28" fmla="*/ 169 w 429"/>
                <a:gd name="T29" fmla="*/ 86 h 485"/>
                <a:gd name="T30" fmla="*/ 209 w 429"/>
                <a:gd name="T31" fmla="*/ 236 h 485"/>
                <a:gd name="T32" fmla="*/ 169 w 429"/>
                <a:gd name="T33" fmla="*/ 236 h 485"/>
                <a:gd name="T34" fmla="*/ 209 w 429"/>
                <a:gd name="T35" fmla="*/ 30 h 485"/>
                <a:gd name="T36" fmla="*/ 169 w 429"/>
                <a:gd name="T37" fmla="*/ 55 h 485"/>
                <a:gd name="T38" fmla="*/ 209 w 429"/>
                <a:gd name="T39" fmla="*/ 30 h 485"/>
                <a:gd name="T40" fmla="*/ 50 w 429"/>
                <a:gd name="T41" fmla="*/ 57 h 485"/>
                <a:gd name="T42" fmla="*/ 88 w 429"/>
                <a:gd name="T43" fmla="*/ 259 h 485"/>
                <a:gd name="T44" fmla="*/ 30 w 429"/>
                <a:gd name="T45" fmla="*/ 263 h 485"/>
                <a:gd name="T46" fmla="*/ 30 w 429"/>
                <a:gd name="T47" fmla="*/ 77 h 485"/>
                <a:gd name="T48" fmla="*/ 334 w 429"/>
                <a:gd name="T49" fmla="*/ 217 h 485"/>
                <a:gd name="T50" fmla="*/ 334 w 429"/>
                <a:gd name="T51" fmla="*/ 248 h 485"/>
                <a:gd name="T52" fmla="*/ 350 w 429"/>
                <a:gd name="T53" fmla="*/ 264 h 485"/>
                <a:gd name="T54" fmla="*/ 319 w 429"/>
                <a:gd name="T55" fmla="*/ 279 h 485"/>
                <a:gd name="T56" fmla="*/ 350 w 429"/>
                <a:gd name="T57" fmla="*/ 294 h 485"/>
                <a:gd name="T58" fmla="*/ 334 w 429"/>
                <a:gd name="T59" fmla="*/ 310 h 485"/>
                <a:gd name="T60" fmla="*/ 334 w 429"/>
                <a:gd name="T61" fmla="*/ 340 h 485"/>
                <a:gd name="T62" fmla="*/ 350 w 429"/>
                <a:gd name="T63" fmla="*/ 356 h 485"/>
                <a:gd name="T64" fmla="*/ 319 w 429"/>
                <a:gd name="T65" fmla="*/ 371 h 485"/>
                <a:gd name="T66" fmla="*/ 350 w 429"/>
                <a:gd name="T67" fmla="*/ 386 h 485"/>
                <a:gd name="T68" fmla="*/ 319 w 429"/>
                <a:gd name="T69" fmla="*/ 391 h 485"/>
                <a:gd name="T70" fmla="*/ 288 w 429"/>
                <a:gd name="T71" fmla="*/ 195 h 485"/>
                <a:gd name="T72" fmla="*/ 350 w 429"/>
                <a:gd name="T73" fmla="*/ 217 h 485"/>
                <a:gd name="T74" fmla="*/ 319 w 429"/>
                <a:gd name="T75" fmla="*/ 424 h 485"/>
                <a:gd name="T76" fmla="*/ 319 w 429"/>
                <a:gd name="T77" fmla="*/ 421 h 485"/>
                <a:gd name="T78" fmla="*/ 319 w 429"/>
                <a:gd name="T79" fmla="*/ 454 h 485"/>
                <a:gd name="T80" fmla="*/ 288 w 429"/>
                <a:gd name="T81" fmla="*/ 428 h 485"/>
                <a:gd name="T82" fmla="*/ 350 w 429"/>
                <a:gd name="T83" fmla="*/ 428 h 485"/>
                <a:gd name="T84" fmla="*/ 319 w 429"/>
                <a:gd name="T85" fmla="*/ 454 h 485"/>
                <a:gd name="T86" fmla="*/ 381 w 429"/>
                <a:gd name="T87" fmla="*/ 347 h 485"/>
                <a:gd name="T88" fmla="*/ 365 w 429"/>
                <a:gd name="T89" fmla="*/ 165 h 485"/>
                <a:gd name="T90" fmla="*/ 257 w 429"/>
                <a:gd name="T91" fmla="*/ 180 h 485"/>
                <a:gd name="T92" fmla="*/ 50 w 429"/>
                <a:gd name="T93" fmla="*/ 347 h 485"/>
                <a:gd name="T94" fmla="*/ 30 w 429"/>
                <a:gd name="T95" fmla="*/ 309 h 485"/>
                <a:gd name="T96" fmla="*/ 103 w 429"/>
                <a:gd name="T97" fmla="*/ 290 h 485"/>
                <a:gd name="T98" fmla="*/ 118 w 429"/>
                <a:gd name="T99" fmla="*/ 114 h 485"/>
                <a:gd name="T100" fmla="*/ 138 w 429"/>
                <a:gd name="T101" fmla="*/ 241 h 485"/>
                <a:gd name="T102" fmla="*/ 176 w 429"/>
                <a:gd name="T103" fmla="*/ 307 h 485"/>
                <a:gd name="T104" fmla="*/ 202 w 429"/>
                <a:gd name="T105" fmla="*/ 307 h 485"/>
                <a:gd name="T106" fmla="*/ 239 w 429"/>
                <a:gd name="T107" fmla="*/ 241 h 485"/>
                <a:gd name="T108" fmla="*/ 399 w 429"/>
                <a:gd name="T109" fmla="*/ 116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29" h="485">
                  <a:moveTo>
                    <a:pt x="429" y="362"/>
                  </a:moveTo>
                  <a:cubicBezTo>
                    <a:pt x="429" y="101"/>
                    <a:pt x="429" y="101"/>
                    <a:pt x="429" y="101"/>
                  </a:cubicBezTo>
                  <a:cubicBezTo>
                    <a:pt x="429" y="92"/>
                    <a:pt x="422" y="86"/>
                    <a:pt x="414" y="86"/>
                  </a:cubicBezTo>
                  <a:cubicBezTo>
                    <a:pt x="239" y="85"/>
                    <a:pt x="239" y="85"/>
                    <a:pt x="239" y="85"/>
                  </a:cubicBezTo>
                  <a:cubicBezTo>
                    <a:pt x="239" y="15"/>
                    <a:pt x="239" y="15"/>
                    <a:pt x="239" y="15"/>
                  </a:cubicBezTo>
                  <a:cubicBezTo>
                    <a:pt x="239" y="7"/>
                    <a:pt x="232" y="0"/>
                    <a:pt x="224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45" y="0"/>
                    <a:pt x="138" y="7"/>
                    <a:pt x="138" y="15"/>
                  </a:cubicBezTo>
                  <a:cubicBezTo>
                    <a:pt x="138" y="84"/>
                    <a:pt x="138" y="84"/>
                    <a:pt x="138" y="8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8" y="34"/>
                    <a:pt x="111" y="27"/>
                    <a:pt x="103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23" y="27"/>
                    <a:pt x="1" y="49"/>
                    <a:pt x="0" y="7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27"/>
                    <a:pt x="0" y="327"/>
                    <a:pt x="0" y="327"/>
                  </a:cubicBezTo>
                  <a:cubicBezTo>
                    <a:pt x="0" y="327"/>
                    <a:pt x="0" y="327"/>
                    <a:pt x="0" y="327"/>
                  </a:cubicBezTo>
                  <a:cubicBezTo>
                    <a:pt x="0" y="355"/>
                    <a:pt x="22" y="377"/>
                    <a:pt x="50" y="377"/>
                  </a:cubicBezTo>
                  <a:cubicBezTo>
                    <a:pt x="257" y="377"/>
                    <a:pt x="257" y="377"/>
                    <a:pt x="257" y="377"/>
                  </a:cubicBezTo>
                  <a:cubicBezTo>
                    <a:pt x="257" y="469"/>
                    <a:pt x="257" y="469"/>
                    <a:pt x="257" y="469"/>
                  </a:cubicBezTo>
                  <a:cubicBezTo>
                    <a:pt x="257" y="478"/>
                    <a:pt x="264" y="485"/>
                    <a:pt x="273" y="485"/>
                  </a:cubicBezTo>
                  <a:cubicBezTo>
                    <a:pt x="365" y="485"/>
                    <a:pt x="365" y="485"/>
                    <a:pt x="365" y="485"/>
                  </a:cubicBezTo>
                  <a:cubicBezTo>
                    <a:pt x="374" y="485"/>
                    <a:pt x="381" y="478"/>
                    <a:pt x="381" y="469"/>
                  </a:cubicBezTo>
                  <a:cubicBezTo>
                    <a:pt x="381" y="377"/>
                    <a:pt x="381" y="377"/>
                    <a:pt x="381" y="377"/>
                  </a:cubicBezTo>
                  <a:cubicBezTo>
                    <a:pt x="414" y="377"/>
                    <a:pt x="414" y="377"/>
                    <a:pt x="414" y="377"/>
                  </a:cubicBezTo>
                  <a:cubicBezTo>
                    <a:pt x="422" y="377"/>
                    <a:pt x="429" y="371"/>
                    <a:pt x="429" y="362"/>
                  </a:cubicBezTo>
                  <a:close/>
                  <a:moveTo>
                    <a:pt x="169" y="86"/>
                  </a:moveTo>
                  <a:cubicBezTo>
                    <a:pt x="209" y="86"/>
                    <a:pt x="209" y="86"/>
                    <a:pt x="209" y="86"/>
                  </a:cubicBezTo>
                  <a:cubicBezTo>
                    <a:pt x="209" y="236"/>
                    <a:pt x="209" y="236"/>
                    <a:pt x="209" y="236"/>
                  </a:cubicBezTo>
                  <a:cubicBezTo>
                    <a:pt x="189" y="270"/>
                    <a:pt x="189" y="270"/>
                    <a:pt x="189" y="270"/>
                  </a:cubicBezTo>
                  <a:cubicBezTo>
                    <a:pt x="169" y="236"/>
                    <a:pt x="169" y="236"/>
                    <a:pt x="169" y="236"/>
                  </a:cubicBezTo>
                  <a:lnTo>
                    <a:pt x="169" y="86"/>
                  </a:lnTo>
                  <a:close/>
                  <a:moveTo>
                    <a:pt x="209" y="30"/>
                  </a:moveTo>
                  <a:cubicBezTo>
                    <a:pt x="209" y="55"/>
                    <a:pt x="209" y="55"/>
                    <a:pt x="209" y="55"/>
                  </a:cubicBezTo>
                  <a:cubicBezTo>
                    <a:pt x="169" y="55"/>
                    <a:pt x="169" y="55"/>
                    <a:pt x="169" y="55"/>
                  </a:cubicBezTo>
                  <a:cubicBezTo>
                    <a:pt x="169" y="30"/>
                    <a:pt x="169" y="30"/>
                    <a:pt x="169" y="30"/>
                  </a:cubicBezTo>
                  <a:lnTo>
                    <a:pt x="209" y="30"/>
                  </a:lnTo>
                  <a:close/>
                  <a:moveTo>
                    <a:pt x="30" y="77"/>
                  </a:moveTo>
                  <a:cubicBezTo>
                    <a:pt x="30" y="66"/>
                    <a:pt x="39" y="57"/>
                    <a:pt x="50" y="57"/>
                  </a:cubicBezTo>
                  <a:cubicBezTo>
                    <a:pt x="88" y="57"/>
                    <a:pt x="88" y="57"/>
                    <a:pt x="88" y="57"/>
                  </a:cubicBezTo>
                  <a:cubicBezTo>
                    <a:pt x="88" y="259"/>
                    <a:pt x="88" y="259"/>
                    <a:pt x="88" y="259"/>
                  </a:cubicBezTo>
                  <a:cubicBezTo>
                    <a:pt x="50" y="259"/>
                    <a:pt x="50" y="259"/>
                    <a:pt x="50" y="259"/>
                  </a:cubicBezTo>
                  <a:cubicBezTo>
                    <a:pt x="43" y="259"/>
                    <a:pt x="36" y="261"/>
                    <a:pt x="30" y="263"/>
                  </a:cubicBezTo>
                  <a:cubicBezTo>
                    <a:pt x="30" y="84"/>
                    <a:pt x="30" y="84"/>
                    <a:pt x="30" y="84"/>
                  </a:cubicBezTo>
                  <a:lnTo>
                    <a:pt x="30" y="77"/>
                  </a:lnTo>
                  <a:close/>
                  <a:moveTo>
                    <a:pt x="350" y="217"/>
                  </a:moveTo>
                  <a:cubicBezTo>
                    <a:pt x="334" y="217"/>
                    <a:pt x="334" y="217"/>
                    <a:pt x="334" y="217"/>
                  </a:cubicBezTo>
                  <a:cubicBezTo>
                    <a:pt x="326" y="217"/>
                    <a:pt x="319" y="224"/>
                    <a:pt x="319" y="233"/>
                  </a:cubicBezTo>
                  <a:cubicBezTo>
                    <a:pt x="319" y="241"/>
                    <a:pt x="326" y="248"/>
                    <a:pt x="334" y="248"/>
                  </a:cubicBezTo>
                  <a:cubicBezTo>
                    <a:pt x="350" y="248"/>
                    <a:pt x="350" y="248"/>
                    <a:pt x="350" y="248"/>
                  </a:cubicBezTo>
                  <a:cubicBezTo>
                    <a:pt x="350" y="264"/>
                    <a:pt x="350" y="264"/>
                    <a:pt x="350" y="264"/>
                  </a:cubicBezTo>
                  <a:cubicBezTo>
                    <a:pt x="334" y="264"/>
                    <a:pt x="334" y="264"/>
                    <a:pt x="334" y="264"/>
                  </a:cubicBezTo>
                  <a:cubicBezTo>
                    <a:pt x="326" y="264"/>
                    <a:pt x="319" y="271"/>
                    <a:pt x="319" y="279"/>
                  </a:cubicBezTo>
                  <a:cubicBezTo>
                    <a:pt x="319" y="287"/>
                    <a:pt x="326" y="294"/>
                    <a:pt x="334" y="294"/>
                  </a:cubicBezTo>
                  <a:cubicBezTo>
                    <a:pt x="350" y="294"/>
                    <a:pt x="350" y="294"/>
                    <a:pt x="350" y="294"/>
                  </a:cubicBezTo>
                  <a:cubicBezTo>
                    <a:pt x="350" y="310"/>
                    <a:pt x="350" y="310"/>
                    <a:pt x="350" y="310"/>
                  </a:cubicBezTo>
                  <a:cubicBezTo>
                    <a:pt x="334" y="310"/>
                    <a:pt x="334" y="310"/>
                    <a:pt x="334" y="310"/>
                  </a:cubicBezTo>
                  <a:cubicBezTo>
                    <a:pt x="326" y="310"/>
                    <a:pt x="319" y="317"/>
                    <a:pt x="319" y="325"/>
                  </a:cubicBezTo>
                  <a:cubicBezTo>
                    <a:pt x="319" y="333"/>
                    <a:pt x="326" y="340"/>
                    <a:pt x="334" y="340"/>
                  </a:cubicBezTo>
                  <a:cubicBezTo>
                    <a:pt x="350" y="340"/>
                    <a:pt x="350" y="340"/>
                    <a:pt x="350" y="340"/>
                  </a:cubicBezTo>
                  <a:cubicBezTo>
                    <a:pt x="350" y="356"/>
                    <a:pt x="350" y="356"/>
                    <a:pt x="350" y="356"/>
                  </a:cubicBezTo>
                  <a:cubicBezTo>
                    <a:pt x="334" y="356"/>
                    <a:pt x="334" y="356"/>
                    <a:pt x="334" y="356"/>
                  </a:cubicBezTo>
                  <a:cubicBezTo>
                    <a:pt x="326" y="356"/>
                    <a:pt x="319" y="363"/>
                    <a:pt x="319" y="371"/>
                  </a:cubicBezTo>
                  <a:cubicBezTo>
                    <a:pt x="319" y="379"/>
                    <a:pt x="326" y="386"/>
                    <a:pt x="334" y="386"/>
                  </a:cubicBezTo>
                  <a:cubicBezTo>
                    <a:pt x="350" y="386"/>
                    <a:pt x="350" y="386"/>
                    <a:pt x="350" y="386"/>
                  </a:cubicBezTo>
                  <a:cubicBezTo>
                    <a:pt x="350" y="417"/>
                    <a:pt x="350" y="417"/>
                    <a:pt x="350" y="417"/>
                  </a:cubicBezTo>
                  <a:cubicBezTo>
                    <a:pt x="348" y="402"/>
                    <a:pt x="335" y="391"/>
                    <a:pt x="319" y="391"/>
                  </a:cubicBezTo>
                  <a:cubicBezTo>
                    <a:pt x="303" y="391"/>
                    <a:pt x="290" y="402"/>
                    <a:pt x="288" y="417"/>
                  </a:cubicBezTo>
                  <a:cubicBezTo>
                    <a:pt x="288" y="195"/>
                    <a:pt x="288" y="195"/>
                    <a:pt x="288" y="195"/>
                  </a:cubicBezTo>
                  <a:cubicBezTo>
                    <a:pt x="350" y="195"/>
                    <a:pt x="350" y="195"/>
                    <a:pt x="350" y="195"/>
                  </a:cubicBezTo>
                  <a:lnTo>
                    <a:pt x="350" y="217"/>
                  </a:lnTo>
                  <a:close/>
                  <a:moveTo>
                    <a:pt x="321" y="422"/>
                  </a:moveTo>
                  <a:cubicBezTo>
                    <a:pt x="321" y="423"/>
                    <a:pt x="320" y="424"/>
                    <a:pt x="319" y="424"/>
                  </a:cubicBezTo>
                  <a:cubicBezTo>
                    <a:pt x="318" y="424"/>
                    <a:pt x="318" y="423"/>
                    <a:pt x="318" y="422"/>
                  </a:cubicBezTo>
                  <a:cubicBezTo>
                    <a:pt x="318" y="422"/>
                    <a:pt x="318" y="421"/>
                    <a:pt x="319" y="421"/>
                  </a:cubicBezTo>
                  <a:cubicBezTo>
                    <a:pt x="320" y="421"/>
                    <a:pt x="321" y="422"/>
                    <a:pt x="321" y="422"/>
                  </a:cubicBezTo>
                  <a:close/>
                  <a:moveTo>
                    <a:pt x="319" y="454"/>
                  </a:moveTo>
                  <a:cubicBezTo>
                    <a:pt x="288" y="454"/>
                    <a:pt x="288" y="454"/>
                    <a:pt x="288" y="454"/>
                  </a:cubicBezTo>
                  <a:cubicBezTo>
                    <a:pt x="288" y="428"/>
                    <a:pt x="288" y="428"/>
                    <a:pt x="288" y="428"/>
                  </a:cubicBezTo>
                  <a:cubicBezTo>
                    <a:pt x="290" y="443"/>
                    <a:pt x="303" y="454"/>
                    <a:pt x="319" y="454"/>
                  </a:cubicBezTo>
                  <a:cubicBezTo>
                    <a:pt x="335" y="454"/>
                    <a:pt x="348" y="443"/>
                    <a:pt x="350" y="428"/>
                  </a:cubicBezTo>
                  <a:cubicBezTo>
                    <a:pt x="350" y="454"/>
                    <a:pt x="350" y="454"/>
                    <a:pt x="350" y="454"/>
                  </a:cubicBezTo>
                  <a:lnTo>
                    <a:pt x="319" y="454"/>
                  </a:lnTo>
                  <a:close/>
                  <a:moveTo>
                    <a:pt x="399" y="347"/>
                  </a:moveTo>
                  <a:cubicBezTo>
                    <a:pt x="381" y="347"/>
                    <a:pt x="381" y="347"/>
                    <a:pt x="381" y="347"/>
                  </a:cubicBezTo>
                  <a:cubicBezTo>
                    <a:pt x="381" y="180"/>
                    <a:pt x="381" y="180"/>
                    <a:pt x="381" y="180"/>
                  </a:cubicBezTo>
                  <a:cubicBezTo>
                    <a:pt x="381" y="172"/>
                    <a:pt x="374" y="165"/>
                    <a:pt x="365" y="165"/>
                  </a:cubicBezTo>
                  <a:cubicBezTo>
                    <a:pt x="273" y="165"/>
                    <a:pt x="273" y="165"/>
                    <a:pt x="273" y="165"/>
                  </a:cubicBezTo>
                  <a:cubicBezTo>
                    <a:pt x="264" y="165"/>
                    <a:pt x="257" y="172"/>
                    <a:pt x="257" y="180"/>
                  </a:cubicBezTo>
                  <a:cubicBezTo>
                    <a:pt x="257" y="347"/>
                    <a:pt x="257" y="347"/>
                    <a:pt x="257" y="347"/>
                  </a:cubicBezTo>
                  <a:cubicBezTo>
                    <a:pt x="50" y="347"/>
                    <a:pt x="50" y="347"/>
                    <a:pt x="50" y="347"/>
                  </a:cubicBezTo>
                  <a:cubicBezTo>
                    <a:pt x="39" y="347"/>
                    <a:pt x="30" y="338"/>
                    <a:pt x="30" y="327"/>
                  </a:cubicBezTo>
                  <a:cubicBezTo>
                    <a:pt x="30" y="309"/>
                    <a:pt x="30" y="309"/>
                    <a:pt x="30" y="309"/>
                  </a:cubicBezTo>
                  <a:cubicBezTo>
                    <a:pt x="30" y="298"/>
                    <a:pt x="39" y="290"/>
                    <a:pt x="50" y="290"/>
                  </a:cubicBezTo>
                  <a:cubicBezTo>
                    <a:pt x="103" y="290"/>
                    <a:pt x="103" y="290"/>
                    <a:pt x="103" y="290"/>
                  </a:cubicBezTo>
                  <a:cubicBezTo>
                    <a:pt x="111" y="290"/>
                    <a:pt x="118" y="283"/>
                    <a:pt x="118" y="274"/>
                  </a:cubicBezTo>
                  <a:cubicBezTo>
                    <a:pt x="118" y="114"/>
                    <a:pt x="118" y="114"/>
                    <a:pt x="118" y="114"/>
                  </a:cubicBezTo>
                  <a:cubicBezTo>
                    <a:pt x="138" y="114"/>
                    <a:pt x="138" y="114"/>
                    <a:pt x="138" y="114"/>
                  </a:cubicBezTo>
                  <a:cubicBezTo>
                    <a:pt x="138" y="241"/>
                    <a:pt x="138" y="241"/>
                    <a:pt x="138" y="241"/>
                  </a:cubicBezTo>
                  <a:cubicBezTo>
                    <a:pt x="138" y="243"/>
                    <a:pt x="139" y="246"/>
                    <a:pt x="140" y="248"/>
                  </a:cubicBezTo>
                  <a:cubicBezTo>
                    <a:pt x="176" y="307"/>
                    <a:pt x="176" y="307"/>
                    <a:pt x="176" y="307"/>
                  </a:cubicBezTo>
                  <a:cubicBezTo>
                    <a:pt x="179" y="312"/>
                    <a:pt x="183" y="314"/>
                    <a:pt x="189" y="314"/>
                  </a:cubicBezTo>
                  <a:cubicBezTo>
                    <a:pt x="194" y="314"/>
                    <a:pt x="199" y="312"/>
                    <a:pt x="202" y="307"/>
                  </a:cubicBezTo>
                  <a:cubicBezTo>
                    <a:pt x="237" y="248"/>
                    <a:pt x="237" y="248"/>
                    <a:pt x="237" y="248"/>
                  </a:cubicBezTo>
                  <a:cubicBezTo>
                    <a:pt x="239" y="246"/>
                    <a:pt x="239" y="243"/>
                    <a:pt x="239" y="241"/>
                  </a:cubicBezTo>
                  <a:cubicBezTo>
                    <a:pt x="239" y="115"/>
                    <a:pt x="239" y="115"/>
                    <a:pt x="239" y="115"/>
                  </a:cubicBezTo>
                  <a:cubicBezTo>
                    <a:pt x="399" y="116"/>
                    <a:pt x="399" y="116"/>
                    <a:pt x="399" y="116"/>
                  </a:cubicBezTo>
                  <a:lnTo>
                    <a:pt x="399" y="34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74045" tIns="37022" rIns="74045" bIns="37022" numCol="1" anchor="t" anchorCtr="0" compatLnSpc="1">
              <a:prstTxWarp prst="textNoShape">
                <a:avLst/>
              </a:prstTxWarp>
            </a:bodyPr>
            <a:lstStyle/>
            <a:p>
              <a:pPr defTabSz="82268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37">
                <a:solidFill>
                  <a:prstClr val="black"/>
                </a:solidFill>
                <a:latin typeface="Roboto" pitchFamily="2" charset="0"/>
                <a:ea typeface="Roboto" pitchFamily="2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A627B87-134D-4472-8DCD-3120F9232930}"/>
              </a:ext>
            </a:extLst>
          </p:cNvPr>
          <p:cNvGrpSpPr/>
          <p:nvPr/>
        </p:nvGrpSpPr>
        <p:grpSpPr>
          <a:xfrm>
            <a:off x="882400" y="1376822"/>
            <a:ext cx="1605522" cy="1125801"/>
            <a:chOff x="1617676" y="1564311"/>
            <a:chExt cx="1784430" cy="1251253"/>
          </a:xfrm>
        </p:grpSpPr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B7EB9FC1-51B8-4BCD-A947-2CEA26FB1065}"/>
                </a:ext>
              </a:extLst>
            </p:cNvPr>
            <p:cNvSpPr txBox="1"/>
            <p:nvPr/>
          </p:nvSpPr>
          <p:spPr>
            <a:xfrm>
              <a:off x="1658410" y="2339936"/>
              <a:ext cx="1494546" cy="475628"/>
            </a:xfrm>
            <a:prstGeom prst="rect">
              <a:avLst/>
            </a:prstGeom>
            <a:noFill/>
          </p:spPr>
          <p:txBody>
            <a:bodyPr wrap="square" lIns="74045" tIns="37022" rIns="74045" bIns="37022" rtlCol="0">
              <a:spAutoFit/>
            </a:bodyPr>
            <a:lstStyle/>
            <a:p>
              <a:pPr defTabSz="822686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1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Roboto" pitchFamily="2" charset="0"/>
                  <a:ea typeface="Roboto" pitchFamily="2" charset="0"/>
                </a:rPr>
                <a:t>Nexo1 FE migration to LuxaOS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A9D89ED7-6395-43C8-816B-13038893FD61}"/>
                </a:ext>
              </a:extLst>
            </p:cNvPr>
            <p:cNvSpPr txBox="1"/>
            <p:nvPr/>
          </p:nvSpPr>
          <p:spPr>
            <a:xfrm>
              <a:off x="1617676" y="1564311"/>
              <a:ext cx="1784430" cy="322550"/>
            </a:xfrm>
            <a:prstGeom prst="rect">
              <a:avLst/>
            </a:prstGeom>
            <a:noFill/>
          </p:spPr>
          <p:txBody>
            <a:bodyPr wrap="square" lIns="74045" tIns="37022" rIns="74045" bIns="37022" rtlCol="0">
              <a:spAutoFit/>
            </a:bodyPr>
            <a:lstStyle/>
            <a:p>
              <a:pPr defTabSz="822686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b="1">
                  <a:solidFill>
                    <a:srgbClr val="455F51"/>
                  </a:solidFill>
                  <a:latin typeface="Roboto" pitchFamily="2" charset="0"/>
                  <a:ea typeface="Roboto" pitchFamily="2" charset="0"/>
                </a:rPr>
                <a:t>LuxaOS Project Kick off</a:t>
              </a:r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55FE13F3-C7C9-4AE4-993E-00FC87BA4E2F}"/>
              </a:ext>
            </a:extLst>
          </p:cNvPr>
          <p:cNvGrpSpPr/>
          <p:nvPr/>
        </p:nvGrpSpPr>
        <p:grpSpPr>
          <a:xfrm>
            <a:off x="3062877" y="1837797"/>
            <a:ext cx="1344702" cy="769473"/>
            <a:chOff x="1658410" y="2076651"/>
            <a:chExt cx="1494546" cy="855217"/>
          </a:xfrm>
        </p:grpSpPr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19B17FB0-5EF2-4A56-AA96-6E81994C27DD}"/>
                </a:ext>
              </a:extLst>
            </p:cNvPr>
            <p:cNvSpPr txBox="1"/>
            <p:nvPr/>
          </p:nvSpPr>
          <p:spPr>
            <a:xfrm>
              <a:off x="1658410" y="2339936"/>
              <a:ext cx="1494546" cy="591932"/>
            </a:xfrm>
            <a:prstGeom prst="rect">
              <a:avLst/>
            </a:prstGeom>
            <a:noFill/>
          </p:spPr>
          <p:txBody>
            <a:bodyPr wrap="square" lIns="74045" tIns="37022" rIns="74045" bIns="37022" rtlCol="0">
              <a:spAutoFit/>
            </a:bodyPr>
            <a:lstStyle/>
            <a:p>
              <a:pPr defTabSz="822686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b="1">
                  <a:solidFill>
                    <a:srgbClr val="263238"/>
                  </a:solidFill>
                  <a:latin typeface="Roboto" pitchFamily="2" charset="0"/>
                  <a:ea typeface="Roboto" pitchFamily="2" charset="0"/>
                </a:rPr>
                <a:t>LuxaMatrix Apps development.</a:t>
              </a:r>
              <a:endParaRPr lang="en-US" sz="1050" b="1">
                <a:solidFill>
                  <a:srgbClr val="455F51">
                    <a:lumMod val="50000"/>
                    <a:lumOff val="50000"/>
                  </a:srgbClr>
                </a:solidFill>
                <a:latin typeface="Roboto" pitchFamily="2" charset="0"/>
                <a:ea typeface="Roboto" pitchFamily="2" charset="0"/>
              </a:endParaRP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2201F9D8-A7F9-4122-97F4-1B58D20AC84A}"/>
                </a:ext>
              </a:extLst>
            </p:cNvPr>
            <p:cNvSpPr txBox="1"/>
            <p:nvPr/>
          </p:nvSpPr>
          <p:spPr>
            <a:xfrm>
              <a:off x="1658410" y="2076651"/>
              <a:ext cx="1168609" cy="308867"/>
            </a:xfrm>
            <a:prstGeom prst="rect">
              <a:avLst/>
            </a:prstGeom>
            <a:noFill/>
          </p:spPr>
          <p:txBody>
            <a:bodyPr wrap="square" lIns="74045" tIns="37022" rIns="74045" bIns="37022" rtlCol="0">
              <a:spAutoFit/>
            </a:bodyPr>
            <a:lstStyle/>
            <a:p>
              <a:pPr defTabSz="822686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90" b="1">
                <a:solidFill>
                  <a:srgbClr val="455F51"/>
                </a:solidFill>
                <a:latin typeface="Roboto" pitchFamily="2" charset="0"/>
                <a:ea typeface="Roboto" pitchFamily="2" charset="0"/>
              </a:endParaRP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90EF56A3-6911-4DCB-A98F-CDD45C53353D}"/>
              </a:ext>
            </a:extLst>
          </p:cNvPr>
          <p:cNvGrpSpPr/>
          <p:nvPr/>
        </p:nvGrpSpPr>
        <p:grpSpPr>
          <a:xfrm>
            <a:off x="5091936" y="1167444"/>
            <a:ext cx="1718108" cy="1240849"/>
            <a:chOff x="1602259" y="1541060"/>
            <a:chExt cx="1909562" cy="991401"/>
          </a:xfrm>
        </p:grpSpPr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1AE8A88E-CC10-4C1B-B86A-3B7442E7B2A9}"/>
                </a:ext>
              </a:extLst>
            </p:cNvPr>
            <p:cNvSpPr txBox="1"/>
            <p:nvPr/>
          </p:nvSpPr>
          <p:spPr>
            <a:xfrm>
              <a:off x="1658410" y="2339936"/>
              <a:ext cx="1494546" cy="192525"/>
            </a:xfrm>
            <a:prstGeom prst="rect">
              <a:avLst/>
            </a:prstGeom>
            <a:noFill/>
          </p:spPr>
          <p:txBody>
            <a:bodyPr wrap="square" lIns="74045" tIns="37022" rIns="74045" bIns="37022" rtlCol="0">
              <a:spAutoFit/>
            </a:bodyPr>
            <a:lstStyle/>
            <a:p>
              <a:pPr defTabSz="822686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10">
                  <a:solidFill>
                    <a:srgbClr val="263238"/>
                  </a:solidFill>
                  <a:latin typeface="Roboto" pitchFamily="2" charset="0"/>
                  <a:ea typeface="Roboto" pitchFamily="2" charset="0"/>
                </a:rPr>
                <a:t>.</a:t>
              </a:r>
              <a:endParaRPr lang="en-US" sz="810">
                <a:solidFill>
                  <a:srgbClr val="455F51">
                    <a:lumMod val="50000"/>
                    <a:lumOff val="50000"/>
                  </a:srgbClr>
                </a:solidFill>
                <a:latin typeface="Roboto" pitchFamily="2" charset="0"/>
                <a:ea typeface="Roboto" pitchFamily="2" charset="0"/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5DD386D9-760A-4028-A0C2-D82AE7E737C2}"/>
                </a:ext>
              </a:extLst>
            </p:cNvPr>
            <p:cNvSpPr txBox="1"/>
            <p:nvPr/>
          </p:nvSpPr>
          <p:spPr>
            <a:xfrm>
              <a:off x="1602259" y="1541060"/>
              <a:ext cx="1909562" cy="895811"/>
            </a:xfrm>
            <a:prstGeom prst="rect">
              <a:avLst/>
            </a:prstGeom>
            <a:noFill/>
          </p:spPr>
          <p:txBody>
            <a:bodyPr wrap="square" lIns="74045" tIns="37022" rIns="74045" bIns="37022" rtlCol="0">
              <a:spAutoFit/>
            </a:bodyPr>
            <a:lstStyle/>
            <a:p>
              <a:pPr defTabSz="822686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>
                  <a:solidFill>
                    <a:srgbClr val="455F51"/>
                  </a:solidFill>
                  <a:latin typeface="Roboto" pitchFamily="2" charset="0"/>
                  <a:ea typeface="Roboto" pitchFamily="2" charset="0"/>
                </a:rPr>
                <a:t>LuxaStat v1.0.0 Release</a:t>
              </a:r>
            </a:p>
            <a:p>
              <a:pPr defTabSz="822686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>
                  <a:solidFill>
                    <a:srgbClr val="455F51"/>
                  </a:solidFill>
                  <a:latin typeface="Roboto" pitchFamily="2" charset="0"/>
                  <a:ea typeface="Roboto" pitchFamily="2" charset="0"/>
                </a:rPr>
                <a:t>Major release with QGR</a:t>
              </a:r>
            </a:p>
            <a:p>
              <a:pPr defTabSz="822686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>
                  <a:solidFill>
                    <a:srgbClr val="455F51"/>
                  </a:solidFill>
                  <a:latin typeface="Roboto" pitchFamily="2" charset="0"/>
                  <a:ea typeface="Roboto" pitchFamily="2" charset="0"/>
                </a:rPr>
                <a:t>LuxaOS v4.00.STD.SP2Relaase</a:t>
              </a:r>
            </a:p>
            <a:p>
              <a:pPr defTabSz="822686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1">
                <a:solidFill>
                  <a:srgbClr val="455F51"/>
                </a:solidFill>
                <a:latin typeface="Roboto" pitchFamily="2" charset="0"/>
                <a:ea typeface="Roboto" pitchFamily="2" charset="0"/>
              </a:endParaRP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AE034C7A-A0A8-4B28-85C4-D7BC14EE87A1}"/>
              </a:ext>
            </a:extLst>
          </p:cNvPr>
          <p:cNvGrpSpPr/>
          <p:nvPr/>
        </p:nvGrpSpPr>
        <p:grpSpPr>
          <a:xfrm>
            <a:off x="7332646" y="1035073"/>
            <a:ext cx="1580062" cy="765550"/>
            <a:chOff x="1658410" y="1756896"/>
            <a:chExt cx="1756133" cy="850858"/>
          </a:xfrm>
        </p:grpSpPr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EF2774D2-2D38-46E1-82EA-AD8EA80DF4C3}"/>
                </a:ext>
              </a:extLst>
            </p:cNvPr>
            <p:cNvSpPr txBox="1"/>
            <p:nvPr/>
          </p:nvSpPr>
          <p:spPr>
            <a:xfrm>
              <a:off x="1658410" y="2339936"/>
              <a:ext cx="1756133" cy="267818"/>
            </a:xfrm>
            <a:prstGeom prst="rect">
              <a:avLst/>
            </a:prstGeom>
            <a:noFill/>
          </p:spPr>
          <p:txBody>
            <a:bodyPr wrap="square" lIns="74045" tIns="37022" rIns="74045" bIns="37022" rtlCol="0">
              <a:spAutoFit/>
            </a:bodyPr>
            <a:lstStyle/>
            <a:p>
              <a:pPr defTabSz="822686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10">
                  <a:solidFill>
                    <a:srgbClr val="263238"/>
                  </a:solidFill>
                  <a:latin typeface="Roboto" pitchFamily="2" charset="0"/>
                  <a:ea typeface="Roboto" pitchFamily="2" charset="0"/>
                </a:rPr>
                <a:t>Major release with UX changes</a:t>
              </a:r>
              <a:endParaRPr lang="en-US" sz="810">
                <a:solidFill>
                  <a:srgbClr val="455F51">
                    <a:lumMod val="50000"/>
                    <a:lumOff val="50000"/>
                  </a:srgbClr>
                </a:solidFill>
                <a:latin typeface="Roboto" pitchFamily="2" charset="0"/>
                <a:ea typeface="Roboto" pitchFamily="2" charset="0"/>
              </a:endParaRP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3DB282A3-3282-44C9-9FC5-F061288C717E}"/>
                </a:ext>
              </a:extLst>
            </p:cNvPr>
            <p:cNvSpPr txBox="1"/>
            <p:nvPr/>
          </p:nvSpPr>
          <p:spPr>
            <a:xfrm>
              <a:off x="1678582" y="1756896"/>
              <a:ext cx="1654209" cy="616163"/>
            </a:xfrm>
            <a:prstGeom prst="rect">
              <a:avLst/>
            </a:prstGeom>
            <a:noFill/>
          </p:spPr>
          <p:txBody>
            <a:bodyPr wrap="square" lIns="74045" tIns="37022" rIns="74045" bIns="37022" rtlCol="0">
              <a:spAutoFit/>
            </a:bodyPr>
            <a:lstStyle/>
            <a:p>
              <a:pPr defTabSz="822686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>
                  <a:solidFill>
                    <a:srgbClr val="455F51"/>
                  </a:solidFill>
                  <a:latin typeface="Roboto" pitchFamily="2" charset="0"/>
                  <a:ea typeface="Roboto" pitchFamily="2" charset="0"/>
                </a:rPr>
                <a:t>LuxaOS v4.01.STD.Release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B0DE860E-EC84-40E2-A931-22EFD3209A69}"/>
              </a:ext>
            </a:extLst>
          </p:cNvPr>
          <p:cNvGrpSpPr/>
          <p:nvPr/>
        </p:nvGrpSpPr>
        <p:grpSpPr>
          <a:xfrm>
            <a:off x="3005436" y="3663726"/>
            <a:ext cx="1611498" cy="480163"/>
            <a:chOff x="1594568" y="2071805"/>
            <a:chExt cx="1791072" cy="533669"/>
          </a:xfrm>
        </p:grpSpPr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21544943-749B-49D1-B69C-E75DF5454443}"/>
                </a:ext>
              </a:extLst>
            </p:cNvPr>
            <p:cNvSpPr txBox="1"/>
            <p:nvPr/>
          </p:nvSpPr>
          <p:spPr>
            <a:xfrm>
              <a:off x="1658410" y="2339936"/>
              <a:ext cx="1494546" cy="265538"/>
            </a:xfrm>
            <a:prstGeom prst="rect">
              <a:avLst/>
            </a:prstGeom>
            <a:noFill/>
          </p:spPr>
          <p:txBody>
            <a:bodyPr wrap="square" lIns="74045" tIns="37022" rIns="74045" bIns="37022" rtlCol="0">
              <a:spAutoFit/>
            </a:bodyPr>
            <a:lstStyle/>
            <a:p>
              <a:pPr defTabSz="822686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800">
                <a:solidFill>
                  <a:srgbClr val="455F51">
                    <a:lumMod val="50000"/>
                    <a:lumOff val="50000"/>
                  </a:srgbClr>
                </a:solidFill>
                <a:latin typeface="Roboto" pitchFamily="2" charset="0"/>
                <a:ea typeface="Roboto" pitchFamily="2" charset="0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65048EC5-98AA-442F-A5D0-6F4C7B1A9CBF}"/>
                </a:ext>
              </a:extLst>
            </p:cNvPr>
            <p:cNvSpPr txBox="1"/>
            <p:nvPr/>
          </p:nvSpPr>
          <p:spPr>
            <a:xfrm>
              <a:off x="1594568" y="2071805"/>
              <a:ext cx="1791072" cy="311147"/>
            </a:xfrm>
            <a:prstGeom prst="rect">
              <a:avLst/>
            </a:prstGeom>
            <a:noFill/>
          </p:spPr>
          <p:txBody>
            <a:bodyPr wrap="square" lIns="74045" tIns="37022" rIns="74045" bIns="37022" rtlCol="0">
              <a:spAutoFit/>
            </a:bodyPr>
            <a:lstStyle/>
            <a:p>
              <a:pPr defTabSz="822686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>
                  <a:solidFill>
                    <a:srgbClr val="455F51"/>
                  </a:solidFill>
                  <a:latin typeface="Roboto" pitchFamily="2" charset="0"/>
                  <a:ea typeface="Roboto" pitchFamily="2" charset="0"/>
                </a:rPr>
                <a:t>LuxaOS FE Development  </a:t>
              </a:r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BEB4B81F-5315-4A67-9EAA-E88E88CF1AB4}"/>
              </a:ext>
            </a:extLst>
          </p:cNvPr>
          <p:cNvGrpSpPr/>
          <p:nvPr/>
        </p:nvGrpSpPr>
        <p:grpSpPr>
          <a:xfrm>
            <a:off x="5155294" y="3668087"/>
            <a:ext cx="1475521" cy="669092"/>
            <a:chOff x="1632521" y="2076651"/>
            <a:chExt cx="1518574" cy="743651"/>
          </a:xfrm>
        </p:grpSpPr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05F10DD0-1964-4472-A646-D917B446D734}"/>
                </a:ext>
              </a:extLst>
            </p:cNvPr>
            <p:cNvSpPr txBox="1"/>
            <p:nvPr/>
          </p:nvSpPr>
          <p:spPr>
            <a:xfrm>
              <a:off x="1632521" y="2552484"/>
              <a:ext cx="1494546" cy="267818"/>
            </a:xfrm>
            <a:prstGeom prst="rect">
              <a:avLst/>
            </a:prstGeom>
            <a:noFill/>
          </p:spPr>
          <p:txBody>
            <a:bodyPr wrap="square" lIns="74045" tIns="37022" rIns="74045" bIns="37022" rtlCol="0">
              <a:spAutoFit/>
            </a:bodyPr>
            <a:lstStyle/>
            <a:p>
              <a:pPr defTabSz="822686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10">
                  <a:solidFill>
                    <a:srgbClr val="263238"/>
                  </a:solidFill>
                  <a:latin typeface="Roboto" pitchFamily="2" charset="0"/>
                  <a:ea typeface="Roboto" pitchFamily="2" charset="0"/>
                </a:rPr>
                <a:t>Nexo2 1</a:t>
              </a:r>
              <a:r>
                <a:rPr lang="en-US" sz="810" baseline="30000">
                  <a:solidFill>
                    <a:srgbClr val="263238"/>
                  </a:solidFill>
                  <a:latin typeface="Roboto" pitchFamily="2" charset="0"/>
                  <a:ea typeface="Roboto" pitchFamily="2" charset="0"/>
                </a:rPr>
                <a:t>st</a:t>
              </a:r>
              <a:r>
                <a:rPr lang="en-US" sz="810">
                  <a:solidFill>
                    <a:srgbClr val="263238"/>
                  </a:solidFill>
                  <a:latin typeface="Roboto" pitchFamily="2" charset="0"/>
                  <a:ea typeface="Roboto" pitchFamily="2" charset="0"/>
                </a:rPr>
                <a:t> version release.</a:t>
              </a:r>
              <a:endParaRPr lang="en-US" sz="810">
                <a:solidFill>
                  <a:srgbClr val="455F51">
                    <a:lumMod val="50000"/>
                    <a:lumOff val="50000"/>
                  </a:srgbClr>
                </a:solidFill>
                <a:latin typeface="Roboto" pitchFamily="2" charset="0"/>
                <a:ea typeface="Roboto" pitchFamily="2" charset="0"/>
              </a:endParaRP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C14F901E-D32B-4DF5-9356-74111731C45E}"/>
                </a:ext>
              </a:extLst>
            </p:cNvPr>
            <p:cNvSpPr txBox="1"/>
            <p:nvPr/>
          </p:nvSpPr>
          <p:spPr>
            <a:xfrm>
              <a:off x="1658410" y="2076651"/>
              <a:ext cx="1492685" cy="567702"/>
            </a:xfrm>
            <a:prstGeom prst="rect">
              <a:avLst/>
            </a:prstGeom>
            <a:noFill/>
          </p:spPr>
          <p:txBody>
            <a:bodyPr wrap="square" lIns="74045" tIns="37022" rIns="74045" bIns="37022" rtlCol="0">
              <a:spAutoFit/>
            </a:bodyPr>
            <a:lstStyle/>
            <a:p>
              <a:pPr defTabSz="822686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>
                  <a:solidFill>
                    <a:srgbClr val="455F51"/>
                  </a:solidFill>
                  <a:latin typeface="Roboto" pitchFamily="2" charset="0"/>
                  <a:ea typeface="Roboto" pitchFamily="2" charset="0"/>
                </a:rPr>
                <a:t>LuxaOS v4.00.STD.Release</a:t>
              </a: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70124D9E-61DC-4FD6-AD43-BDB530343B64}"/>
              </a:ext>
            </a:extLst>
          </p:cNvPr>
          <p:cNvGrpSpPr/>
          <p:nvPr/>
        </p:nvGrpSpPr>
        <p:grpSpPr>
          <a:xfrm>
            <a:off x="7355183" y="3668087"/>
            <a:ext cx="1543413" cy="940818"/>
            <a:chOff x="1658409" y="2076653"/>
            <a:chExt cx="1715400" cy="1045657"/>
          </a:xfrm>
        </p:grpSpPr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C358AD00-2287-4D5B-9733-41C3857B156D}"/>
                </a:ext>
              </a:extLst>
            </p:cNvPr>
            <p:cNvSpPr txBox="1"/>
            <p:nvPr/>
          </p:nvSpPr>
          <p:spPr>
            <a:xfrm>
              <a:off x="1658541" y="2856772"/>
              <a:ext cx="1494546" cy="265538"/>
            </a:xfrm>
            <a:prstGeom prst="rect">
              <a:avLst/>
            </a:prstGeom>
            <a:noFill/>
          </p:spPr>
          <p:txBody>
            <a:bodyPr wrap="square" lIns="74045" tIns="37022" rIns="74045" bIns="37022" rtlCol="0">
              <a:spAutoFit/>
            </a:bodyPr>
            <a:lstStyle/>
            <a:p>
              <a:pPr defTabSz="822686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800">
                <a:solidFill>
                  <a:srgbClr val="455F51">
                    <a:lumMod val="50000"/>
                    <a:lumOff val="50000"/>
                  </a:srgbClr>
                </a:solidFill>
                <a:latin typeface="Roboto" pitchFamily="2" charset="0"/>
                <a:ea typeface="Roboto" pitchFamily="2" charset="0"/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6E54FD4F-26FE-4A2F-8817-23D36542346B}"/>
                </a:ext>
              </a:extLst>
            </p:cNvPr>
            <p:cNvSpPr txBox="1"/>
            <p:nvPr/>
          </p:nvSpPr>
          <p:spPr>
            <a:xfrm>
              <a:off x="1658409" y="2076653"/>
              <a:ext cx="1715400" cy="567703"/>
            </a:xfrm>
            <a:prstGeom prst="rect">
              <a:avLst/>
            </a:prstGeom>
            <a:noFill/>
          </p:spPr>
          <p:txBody>
            <a:bodyPr wrap="square" lIns="74045" tIns="37022" rIns="74045" bIns="37022" rtlCol="0">
              <a:spAutoFit/>
            </a:bodyPr>
            <a:lstStyle/>
            <a:p>
              <a:pPr defTabSz="822686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>
                  <a:solidFill>
                    <a:srgbClr val="455F51"/>
                  </a:solidFill>
                  <a:latin typeface="Roboto" pitchFamily="2" charset="0"/>
                  <a:ea typeface="Roboto" pitchFamily="2" charset="0"/>
                </a:rPr>
                <a:t>LuxaOS v4.00.STD.SP4 Release</a:t>
              </a: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65646187-B95D-4126-97AC-865AADE377F1}"/>
              </a:ext>
            </a:extLst>
          </p:cNvPr>
          <p:cNvGrpSpPr/>
          <p:nvPr/>
        </p:nvGrpSpPr>
        <p:grpSpPr>
          <a:xfrm>
            <a:off x="9479891" y="3668087"/>
            <a:ext cx="1356007" cy="963420"/>
            <a:chOff x="1645845" y="2076651"/>
            <a:chExt cx="1507111" cy="1070777"/>
          </a:xfrm>
        </p:grpSpPr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C8488D7F-4880-4F06-B905-7D3EE898B739}"/>
                </a:ext>
              </a:extLst>
            </p:cNvPr>
            <p:cNvSpPr txBox="1"/>
            <p:nvPr/>
          </p:nvSpPr>
          <p:spPr>
            <a:xfrm>
              <a:off x="1645845" y="2671800"/>
              <a:ext cx="1494546" cy="475628"/>
            </a:xfrm>
            <a:prstGeom prst="rect">
              <a:avLst/>
            </a:prstGeom>
            <a:noFill/>
          </p:spPr>
          <p:txBody>
            <a:bodyPr wrap="square" lIns="74045" tIns="37022" rIns="74045" bIns="37022" rtlCol="0">
              <a:spAutoFit/>
            </a:bodyPr>
            <a:lstStyle/>
            <a:p>
              <a:pPr defTabSz="822686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10">
                  <a:solidFill>
                    <a:srgbClr val="263238"/>
                  </a:solidFill>
                  <a:latin typeface="Roboto" pitchFamily="2" charset="0"/>
                  <a:ea typeface="Roboto" pitchFamily="2" charset="0"/>
                </a:rPr>
                <a:t>AxoControl features on LuxaOS platform.</a:t>
              </a:r>
              <a:endParaRPr lang="en-US" sz="810">
                <a:solidFill>
                  <a:srgbClr val="455F51">
                    <a:lumMod val="50000"/>
                    <a:lumOff val="50000"/>
                  </a:srgbClr>
                </a:solidFill>
                <a:latin typeface="Roboto" pitchFamily="2" charset="0"/>
                <a:ea typeface="Roboto" pitchFamily="2" charset="0"/>
              </a:endParaRP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973BF46A-6100-4FFF-8AB4-4C528519FAF0}"/>
                </a:ext>
              </a:extLst>
            </p:cNvPr>
            <p:cNvSpPr txBox="1"/>
            <p:nvPr/>
          </p:nvSpPr>
          <p:spPr>
            <a:xfrm>
              <a:off x="1658410" y="2076651"/>
              <a:ext cx="1494546" cy="567702"/>
            </a:xfrm>
            <a:prstGeom prst="rect">
              <a:avLst/>
            </a:prstGeom>
            <a:noFill/>
          </p:spPr>
          <p:txBody>
            <a:bodyPr wrap="square" lIns="74045" tIns="37022" rIns="74045" bIns="37022" rtlCol="0">
              <a:spAutoFit/>
            </a:bodyPr>
            <a:lstStyle/>
            <a:p>
              <a:pPr defTabSz="822686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>
                  <a:solidFill>
                    <a:srgbClr val="455F51"/>
                  </a:solidFill>
                  <a:latin typeface="Roboto" pitchFamily="2" charset="0"/>
                  <a:ea typeface="Roboto" pitchFamily="2" charset="0"/>
                </a:rPr>
                <a:t>LuxaOS v4.02.Release</a:t>
              </a:r>
            </a:p>
          </p:txBody>
        </p:sp>
      </p:grp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3EDAE5A-324D-62FB-97EE-007AD711C430}"/>
              </a:ext>
            </a:extLst>
          </p:cNvPr>
          <p:cNvSpPr txBox="1">
            <a:spLocks/>
          </p:cNvSpPr>
          <p:nvPr/>
        </p:nvSpPr>
        <p:spPr>
          <a:xfrm>
            <a:off x="87465" y="259200"/>
            <a:ext cx="10156756" cy="388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51982" indent="-251982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7563" indent="-27358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0746" indent="-205185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Bosch Office Sans" pitchFamily="2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en-US" sz="2000" b="1" u="sng">
                <a:solidFill>
                  <a:srgbClr val="CC0099"/>
                </a:solidFill>
                <a:latin typeface="Bosch Sans Bold" panose="020B0704020202020204" pitchFamily="34" charset="0"/>
                <a:cs typeface="Arial"/>
              </a:rPr>
              <a:t>Journey So Far </a:t>
            </a:r>
          </a:p>
        </p:txBody>
      </p:sp>
    </p:spTree>
    <p:extLst>
      <p:ext uri="{BB962C8B-B14F-4D97-AF65-F5344CB8AC3E}">
        <p14:creationId xmlns:p14="http://schemas.microsoft.com/office/powerpoint/2010/main" val="28718663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BE8AB2F-8E81-4182-7764-024EB919BE1E}"/>
              </a:ext>
            </a:extLst>
          </p:cNvPr>
          <p:cNvCxnSpPr/>
          <p:nvPr/>
        </p:nvCxnSpPr>
        <p:spPr>
          <a:xfrm flipV="1">
            <a:off x="1507555" y="1067272"/>
            <a:ext cx="0" cy="422907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B0C99EB-A705-4DA6-5172-CE6484ED2F48}"/>
              </a:ext>
            </a:extLst>
          </p:cNvPr>
          <p:cNvCxnSpPr/>
          <p:nvPr/>
        </p:nvCxnSpPr>
        <p:spPr>
          <a:xfrm flipV="1">
            <a:off x="889922" y="1042480"/>
            <a:ext cx="0" cy="422907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2B062F6-4FAF-6A04-B020-8F81955A5F55}"/>
              </a:ext>
            </a:extLst>
          </p:cNvPr>
          <p:cNvCxnSpPr/>
          <p:nvPr/>
        </p:nvCxnSpPr>
        <p:spPr>
          <a:xfrm flipV="1">
            <a:off x="5347177" y="1074450"/>
            <a:ext cx="0" cy="422907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855AB88-2100-14D4-D895-6BEAE3FDE099}"/>
              </a:ext>
            </a:extLst>
          </p:cNvPr>
          <p:cNvCxnSpPr/>
          <p:nvPr/>
        </p:nvCxnSpPr>
        <p:spPr>
          <a:xfrm flipV="1">
            <a:off x="4656015" y="1058520"/>
            <a:ext cx="0" cy="422907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7F81E67-5104-8F23-FBB0-343FFEF498E6}"/>
              </a:ext>
            </a:extLst>
          </p:cNvPr>
          <p:cNvCxnSpPr/>
          <p:nvPr/>
        </p:nvCxnSpPr>
        <p:spPr>
          <a:xfrm flipV="1">
            <a:off x="4026005" y="1061791"/>
            <a:ext cx="0" cy="422907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6120888-4DE7-78D0-3056-FA3A6A3964CE}"/>
              </a:ext>
            </a:extLst>
          </p:cNvPr>
          <p:cNvCxnSpPr/>
          <p:nvPr/>
        </p:nvCxnSpPr>
        <p:spPr>
          <a:xfrm flipV="1">
            <a:off x="3376248" y="1067271"/>
            <a:ext cx="0" cy="422907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DF3AF16-E156-9A06-F710-08A3E59618DA}"/>
              </a:ext>
            </a:extLst>
          </p:cNvPr>
          <p:cNvCxnSpPr/>
          <p:nvPr/>
        </p:nvCxnSpPr>
        <p:spPr>
          <a:xfrm flipV="1">
            <a:off x="2726634" y="1063069"/>
            <a:ext cx="0" cy="422907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CD6E82A-C3BF-693B-D2C3-A607AFB26116}"/>
              </a:ext>
            </a:extLst>
          </p:cNvPr>
          <p:cNvCxnSpPr/>
          <p:nvPr/>
        </p:nvCxnSpPr>
        <p:spPr>
          <a:xfrm flipV="1">
            <a:off x="6020252" y="1045178"/>
            <a:ext cx="0" cy="422907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AFC2AA4-96C4-02B8-6AFF-1AAE7BE6ACE9}"/>
              </a:ext>
            </a:extLst>
          </p:cNvPr>
          <p:cNvCxnSpPr/>
          <p:nvPr/>
        </p:nvCxnSpPr>
        <p:spPr>
          <a:xfrm flipV="1">
            <a:off x="7968412" y="1062551"/>
            <a:ext cx="0" cy="422907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Table 30">
            <a:extLst>
              <a:ext uri="{FF2B5EF4-FFF2-40B4-BE49-F238E27FC236}">
                <a16:creationId xmlns:a16="http://schemas.microsoft.com/office/drawing/2014/main" id="{BE3887CB-1588-00F7-6247-9ED381EDD509}"/>
              </a:ext>
            </a:extLst>
          </p:cNvPr>
          <p:cNvGraphicFramePr>
            <a:graphicFrameLocks noGrp="1"/>
          </p:cNvGraphicFramePr>
          <p:nvPr/>
        </p:nvGraphicFramePr>
        <p:xfrm>
          <a:off x="351906" y="5318264"/>
          <a:ext cx="9629847" cy="4571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1952">
                  <a:extLst>
                    <a:ext uri="{9D8B030D-6E8A-4147-A177-3AD203B41FA5}">
                      <a16:colId xmlns:a16="http://schemas.microsoft.com/office/drawing/2014/main" val="2201942288"/>
                    </a:ext>
                  </a:extLst>
                </a:gridCol>
                <a:gridCol w="614213">
                  <a:extLst>
                    <a:ext uri="{9D8B030D-6E8A-4147-A177-3AD203B41FA5}">
                      <a16:colId xmlns:a16="http://schemas.microsoft.com/office/drawing/2014/main" val="1214779354"/>
                    </a:ext>
                  </a:extLst>
                </a:gridCol>
                <a:gridCol w="621439">
                  <a:extLst>
                    <a:ext uri="{9D8B030D-6E8A-4147-A177-3AD203B41FA5}">
                      <a16:colId xmlns:a16="http://schemas.microsoft.com/office/drawing/2014/main" val="3963547020"/>
                    </a:ext>
                  </a:extLst>
                </a:gridCol>
                <a:gridCol w="606986">
                  <a:extLst>
                    <a:ext uri="{9D8B030D-6E8A-4147-A177-3AD203B41FA5}">
                      <a16:colId xmlns:a16="http://schemas.microsoft.com/office/drawing/2014/main" val="1784433591"/>
                    </a:ext>
                  </a:extLst>
                </a:gridCol>
                <a:gridCol w="650343">
                  <a:extLst>
                    <a:ext uri="{9D8B030D-6E8A-4147-A177-3AD203B41FA5}">
                      <a16:colId xmlns:a16="http://schemas.microsoft.com/office/drawing/2014/main" val="699060690"/>
                    </a:ext>
                  </a:extLst>
                </a:gridCol>
                <a:gridCol w="650343">
                  <a:extLst>
                    <a:ext uri="{9D8B030D-6E8A-4147-A177-3AD203B41FA5}">
                      <a16:colId xmlns:a16="http://schemas.microsoft.com/office/drawing/2014/main" val="2474620186"/>
                    </a:ext>
                  </a:extLst>
                </a:gridCol>
                <a:gridCol w="628665">
                  <a:extLst>
                    <a:ext uri="{9D8B030D-6E8A-4147-A177-3AD203B41FA5}">
                      <a16:colId xmlns:a16="http://schemas.microsoft.com/office/drawing/2014/main" val="582740900"/>
                    </a:ext>
                  </a:extLst>
                </a:gridCol>
                <a:gridCol w="686472">
                  <a:extLst>
                    <a:ext uri="{9D8B030D-6E8A-4147-A177-3AD203B41FA5}">
                      <a16:colId xmlns:a16="http://schemas.microsoft.com/office/drawing/2014/main" val="98398405"/>
                    </a:ext>
                  </a:extLst>
                </a:gridCol>
                <a:gridCol w="672021">
                  <a:extLst>
                    <a:ext uri="{9D8B030D-6E8A-4147-A177-3AD203B41FA5}">
                      <a16:colId xmlns:a16="http://schemas.microsoft.com/office/drawing/2014/main" val="1431404385"/>
                    </a:ext>
                  </a:extLst>
                </a:gridCol>
                <a:gridCol w="614213">
                  <a:extLst>
                    <a:ext uri="{9D8B030D-6E8A-4147-A177-3AD203B41FA5}">
                      <a16:colId xmlns:a16="http://schemas.microsoft.com/office/drawing/2014/main" val="3901492368"/>
                    </a:ext>
                  </a:extLst>
                </a:gridCol>
                <a:gridCol w="664795">
                  <a:extLst>
                    <a:ext uri="{9D8B030D-6E8A-4147-A177-3AD203B41FA5}">
                      <a16:colId xmlns:a16="http://schemas.microsoft.com/office/drawing/2014/main" val="3217508825"/>
                    </a:ext>
                  </a:extLst>
                </a:gridCol>
                <a:gridCol w="686472">
                  <a:extLst>
                    <a:ext uri="{9D8B030D-6E8A-4147-A177-3AD203B41FA5}">
                      <a16:colId xmlns:a16="http://schemas.microsoft.com/office/drawing/2014/main" val="4011849001"/>
                    </a:ext>
                  </a:extLst>
                </a:gridCol>
                <a:gridCol w="643117">
                  <a:extLst>
                    <a:ext uri="{9D8B030D-6E8A-4147-A177-3AD203B41FA5}">
                      <a16:colId xmlns:a16="http://schemas.microsoft.com/office/drawing/2014/main" val="3541517725"/>
                    </a:ext>
                  </a:extLst>
                </a:gridCol>
                <a:gridCol w="679246">
                  <a:extLst>
                    <a:ext uri="{9D8B030D-6E8A-4147-A177-3AD203B41FA5}">
                      <a16:colId xmlns:a16="http://schemas.microsoft.com/office/drawing/2014/main" val="2596962141"/>
                    </a:ext>
                  </a:extLst>
                </a:gridCol>
                <a:gridCol w="669570">
                  <a:extLst>
                    <a:ext uri="{9D8B030D-6E8A-4147-A177-3AD203B41FA5}">
                      <a16:colId xmlns:a16="http://schemas.microsoft.com/office/drawing/2014/main" val="1964949815"/>
                    </a:ext>
                  </a:extLst>
                </a:gridCol>
              </a:tblGrid>
              <a:tr h="447950">
                <a:tc>
                  <a:txBody>
                    <a:bodyPr/>
                    <a:lstStyle/>
                    <a:p>
                      <a:r>
                        <a:rPr lang="en-US" sz="1200"/>
                        <a:t>Oct-24</a:t>
                      </a:r>
                      <a:endParaRPr lang="en-IN" sz="1200"/>
                    </a:p>
                  </a:txBody>
                  <a:tcPr marL="91437" marR="91437" marT="45718" marB="45718"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Nov-24</a:t>
                      </a:r>
                      <a:endParaRPr lang="en-IN" sz="1200"/>
                    </a:p>
                  </a:txBody>
                  <a:tcPr marL="91437" marR="91437" marT="45718" marB="45718"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Dec-24</a:t>
                      </a:r>
                      <a:endParaRPr lang="en-IN" sz="1200"/>
                    </a:p>
                  </a:txBody>
                  <a:tcPr marL="91437" marR="91437" marT="45718" marB="45718"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Jan-25</a:t>
                      </a:r>
                      <a:endParaRPr lang="en-IN" sz="1200"/>
                    </a:p>
                  </a:txBody>
                  <a:tcPr marL="91437" marR="91437" marT="45718" marB="45718"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Feb-25</a:t>
                      </a:r>
                      <a:endParaRPr lang="en-IN" sz="1200"/>
                    </a:p>
                  </a:txBody>
                  <a:tcPr marL="91437" marR="91437" marT="45718" marB="45718"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Mar-25</a:t>
                      </a:r>
                      <a:endParaRPr lang="en-IN" sz="1200"/>
                    </a:p>
                  </a:txBody>
                  <a:tcPr marL="91437" marR="91437" marT="45718" marB="45718"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Apr-25</a:t>
                      </a:r>
                      <a:endParaRPr lang="en-IN" sz="1200"/>
                    </a:p>
                  </a:txBody>
                  <a:tcPr marL="91437" marR="91437" marT="45718" marB="45718"/>
                </a:tc>
                <a:tc>
                  <a:txBody>
                    <a:bodyPr/>
                    <a:lstStyle/>
                    <a:p>
                      <a:r>
                        <a:rPr lang="en-IN" sz="1200"/>
                        <a:t>May-25</a:t>
                      </a:r>
                    </a:p>
                  </a:txBody>
                  <a:tcPr marL="91437" marR="91437" marT="45718" marB="45718"/>
                </a:tc>
                <a:tc>
                  <a:txBody>
                    <a:bodyPr/>
                    <a:lstStyle/>
                    <a:p>
                      <a:r>
                        <a:rPr lang="en-IN" sz="1200"/>
                        <a:t>Jun-25</a:t>
                      </a:r>
                    </a:p>
                  </a:txBody>
                  <a:tcPr marL="91437" marR="91437" marT="45718" marB="45718"/>
                </a:tc>
                <a:tc>
                  <a:txBody>
                    <a:bodyPr/>
                    <a:lstStyle/>
                    <a:p>
                      <a:r>
                        <a:rPr lang="en-IN" sz="1200"/>
                        <a:t>Jul-25</a:t>
                      </a:r>
                    </a:p>
                  </a:txBody>
                  <a:tcPr marL="91437" marR="91437" marT="45718" marB="45718"/>
                </a:tc>
                <a:tc>
                  <a:txBody>
                    <a:bodyPr/>
                    <a:lstStyle/>
                    <a:p>
                      <a:r>
                        <a:rPr lang="en-IN" sz="1200"/>
                        <a:t>Aug-25</a:t>
                      </a:r>
                    </a:p>
                  </a:txBody>
                  <a:tcPr marL="91437" marR="91437" marT="45718" marB="45718"/>
                </a:tc>
                <a:tc>
                  <a:txBody>
                    <a:bodyPr/>
                    <a:lstStyle/>
                    <a:p>
                      <a:r>
                        <a:rPr lang="en-IN" sz="1200"/>
                        <a:t>Sep-25</a:t>
                      </a:r>
                    </a:p>
                  </a:txBody>
                  <a:tcPr marL="91437" marR="91437" marT="45718" marB="45718"/>
                </a:tc>
                <a:tc>
                  <a:txBody>
                    <a:bodyPr/>
                    <a:lstStyle/>
                    <a:p>
                      <a:r>
                        <a:rPr lang="en-IN" sz="1200"/>
                        <a:t>Oct-25</a:t>
                      </a:r>
                    </a:p>
                  </a:txBody>
                  <a:tcPr marL="91437" marR="91437" marT="45718" marB="45718"/>
                </a:tc>
                <a:tc>
                  <a:txBody>
                    <a:bodyPr/>
                    <a:lstStyle/>
                    <a:p>
                      <a:r>
                        <a:rPr lang="en-IN" sz="1200"/>
                        <a:t>Nov-25</a:t>
                      </a:r>
                    </a:p>
                  </a:txBody>
                  <a:tcPr marL="91437" marR="91437" marT="45718" marB="45718"/>
                </a:tc>
                <a:tc>
                  <a:txBody>
                    <a:bodyPr/>
                    <a:lstStyle/>
                    <a:p>
                      <a:r>
                        <a:rPr lang="en-IN" sz="1200"/>
                        <a:t>Dec-25</a:t>
                      </a:r>
                    </a:p>
                  </a:txBody>
                  <a:tcPr marL="91437" marR="91437" marT="45718" marB="45718"/>
                </a:tc>
                <a:extLst>
                  <a:ext uri="{0D108BD9-81ED-4DB2-BD59-A6C34878D82A}">
                    <a16:rowId xmlns:a16="http://schemas.microsoft.com/office/drawing/2014/main" val="4272110098"/>
                  </a:ext>
                </a:extLst>
              </a:tr>
            </a:tbl>
          </a:graphicData>
        </a:graphic>
      </p:graphicFrame>
      <p:sp>
        <p:nvSpPr>
          <p:cNvPr id="34" name="TextBox 33">
            <a:extLst>
              <a:ext uri="{FF2B5EF4-FFF2-40B4-BE49-F238E27FC236}">
                <a16:creationId xmlns:a16="http://schemas.microsoft.com/office/drawing/2014/main" id="{A1563616-3447-AF94-DED4-E3744B0CA8B8}"/>
              </a:ext>
            </a:extLst>
          </p:cNvPr>
          <p:cNvSpPr txBox="1"/>
          <p:nvPr/>
        </p:nvSpPr>
        <p:spPr>
          <a:xfrm>
            <a:off x="722261" y="2604503"/>
            <a:ext cx="437912" cy="1712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algn="l"/>
            <a:r>
              <a:rPr lang="en-US" sz="800">
                <a:solidFill>
                  <a:srgbClr val="002060"/>
                </a:solidFill>
              </a:rPr>
              <a:t> </a:t>
            </a:r>
            <a:endParaRPr lang="en-IN" sz="800" kern="0">
              <a:solidFill>
                <a:srgbClr val="000000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CF293DF-EF88-4216-3721-E8A5E34C6671}"/>
              </a:ext>
            </a:extLst>
          </p:cNvPr>
          <p:cNvSpPr txBox="1"/>
          <p:nvPr/>
        </p:nvSpPr>
        <p:spPr>
          <a:xfrm>
            <a:off x="1420434" y="2561390"/>
            <a:ext cx="524691" cy="1471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algn="l"/>
            <a:r>
              <a:rPr lang="en-US" sz="800" kern="0">
                <a:solidFill>
                  <a:srgbClr val="002060"/>
                </a:solidFill>
              </a:rPr>
              <a:t> </a:t>
            </a:r>
            <a:endParaRPr lang="en-IN" sz="800" kern="0">
              <a:solidFill>
                <a:srgbClr val="000000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4E23374-0CBA-33FE-BDBC-35CEE272E8FE}"/>
              </a:ext>
            </a:extLst>
          </p:cNvPr>
          <p:cNvSpPr txBox="1"/>
          <p:nvPr/>
        </p:nvSpPr>
        <p:spPr>
          <a:xfrm>
            <a:off x="2373925" y="2531367"/>
            <a:ext cx="453976" cy="893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algn="l"/>
            <a:endParaRPr lang="en-IN" sz="800" kern="0">
              <a:solidFill>
                <a:srgbClr val="000000"/>
              </a:solidFill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170F1327-8E80-89C4-EFB8-8795A6387DEB}"/>
              </a:ext>
            </a:extLst>
          </p:cNvPr>
          <p:cNvGrpSpPr/>
          <p:nvPr/>
        </p:nvGrpSpPr>
        <p:grpSpPr>
          <a:xfrm>
            <a:off x="6741421" y="648340"/>
            <a:ext cx="3873422" cy="261019"/>
            <a:chOff x="5780844" y="89890"/>
            <a:chExt cx="3873547" cy="261027"/>
          </a:xfrm>
        </p:grpSpPr>
        <p:sp>
          <p:nvSpPr>
            <p:cNvPr id="41" name="Diamond 40">
              <a:extLst>
                <a:ext uri="{FF2B5EF4-FFF2-40B4-BE49-F238E27FC236}">
                  <a16:creationId xmlns:a16="http://schemas.microsoft.com/office/drawing/2014/main" id="{7AC2A5DE-6CD9-B41F-5D99-730C4AC2EFB7}"/>
                </a:ext>
              </a:extLst>
            </p:cNvPr>
            <p:cNvSpPr/>
            <p:nvPr/>
          </p:nvSpPr>
          <p:spPr>
            <a:xfrm>
              <a:off x="6741461" y="98128"/>
              <a:ext cx="224116" cy="232001"/>
            </a:xfrm>
            <a:prstGeom prst="diamond">
              <a:avLst/>
            </a:prstGeom>
            <a:solidFill>
              <a:srgbClr val="00B050"/>
            </a:solidFill>
            <a:ln w="9525" cap="flat" cmpd="sng" algn="ctr">
              <a:solidFill>
                <a:srgbClr val="3F136C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333"/>
              <a:endParaRPr lang="en-IN" kern="0">
                <a:solidFill>
                  <a:srgbClr val="00B050"/>
                </a:solidFill>
                <a:latin typeface="Bosch Office Sans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931DFACC-2F11-75C6-4B62-5EE5A9C3AE90}"/>
                </a:ext>
              </a:extLst>
            </p:cNvPr>
            <p:cNvSpPr txBox="1"/>
            <p:nvPr/>
          </p:nvSpPr>
          <p:spPr>
            <a:xfrm>
              <a:off x="6995856" y="136486"/>
              <a:ext cx="633109" cy="21443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defTabSz="914333">
                <a:spcBef>
                  <a:spcPts val="500"/>
                </a:spcBef>
              </a:pPr>
              <a:r>
                <a:rPr lang="en-US" sz="1000" kern="0">
                  <a:solidFill>
                    <a:srgbClr val="000000"/>
                  </a:solidFill>
                </a:rPr>
                <a:t>Completed</a:t>
              </a:r>
              <a:endParaRPr lang="en-IN" sz="1000" kern="0">
                <a:solidFill>
                  <a:srgbClr val="000000"/>
                </a:solidFill>
              </a:endParaRPr>
            </a:p>
          </p:txBody>
        </p:sp>
        <p:sp>
          <p:nvSpPr>
            <p:cNvPr id="44" name="Diamond 43">
              <a:extLst>
                <a:ext uri="{FF2B5EF4-FFF2-40B4-BE49-F238E27FC236}">
                  <a16:creationId xmlns:a16="http://schemas.microsoft.com/office/drawing/2014/main" id="{AB1080D9-6278-15DE-DBCA-4A6B6C24A040}"/>
                </a:ext>
              </a:extLst>
            </p:cNvPr>
            <p:cNvSpPr/>
            <p:nvPr/>
          </p:nvSpPr>
          <p:spPr>
            <a:xfrm>
              <a:off x="7775191" y="89890"/>
              <a:ext cx="224116" cy="232001"/>
            </a:xfrm>
            <a:prstGeom prst="diamond">
              <a:avLst/>
            </a:prstGeom>
            <a:solidFill>
              <a:srgbClr val="FFFF00"/>
            </a:solidFill>
            <a:ln w="9525" cap="flat" cmpd="sng" algn="ctr">
              <a:solidFill>
                <a:srgbClr val="3F136C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333"/>
              <a:endParaRPr lang="en-IN" kern="0">
                <a:solidFill>
                  <a:srgbClr val="00B050"/>
                </a:solidFill>
                <a:latin typeface="Bosch Office Sans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9573939-BBF7-99A5-5836-C7B1CAC1C12E}"/>
                </a:ext>
              </a:extLst>
            </p:cNvPr>
            <p:cNvSpPr txBox="1"/>
            <p:nvPr/>
          </p:nvSpPr>
          <p:spPr>
            <a:xfrm>
              <a:off x="8029586" y="128248"/>
              <a:ext cx="633109" cy="21443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defTabSz="914333">
                <a:spcBef>
                  <a:spcPts val="500"/>
                </a:spcBef>
              </a:pPr>
              <a:r>
                <a:rPr lang="en-US" sz="1000" kern="0">
                  <a:solidFill>
                    <a:srgbClr val="000000"/>
                  </a:solidFill>
                </a:rPr>
                <a:t>In Progress</a:t>
              </a:r>
              <a:endParaRPr lang="en-IN" sz="1000" kern="0">
                <a:solidFill>
                  <a:srgbClr val="000000"/>
                </a:solidFill>
              </a:endParaRPr>
            </a:p>
          </p:txBody>
        </p:sp>
        <p:sp>
          <p:nvSpPr>
            <p:cNvPr id="46" name="Diamond 45">
              <a:extLst>
                <a:ext uri="{FF2B5EF4-FFF2-40B4-BE49-F238E27FC236}">
                  <a16:creationId xmlns:a16="http://schemas.microsoft.com/office/drawing/2014/main" id="{ECCB8B3D-E927-DDC6-07A8-5F534333F402}"/>
                </a:ext>
              </a:extLst>
            </p:cNvPr>
            <p:cNvSpPr/>
            <p:nvPr/>
          </p:nvSpPr>
          <p:spPr>
            <a:xfrm>
              <a:off x="8766887" y="98128"/>
              <a:ext cx="224116" cy="232001"/>
            </a:xfrm>
            <a:prstGeom prst="diamond">
              <a:avLst/>
            </a:prstGeom>
            <a:solidFill>
              <a:srgbClr val="ED0007"/>
            </a:solidFill>
            <a:ln w="9525" cap="flat" cmpd="sng" algn="ctr">
              <a:solidFill>
                <a:srgbClr val="3F136C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333"/>
              <a:endParaRPr lang="en-IN" kern="0">
                <a:solidFill>
                  <a:srgbClr val="00B050"/>
                </a:solidFill>
                <a:latin typeface="Bosch Office Sans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6ED27E77-2983-23AA-5EE0-203A58CFBBA5}"/>
                </a:ext>
              </a:extLst>
            </p:cNvPr>
            <p:cNvSpPr txBox="1"/>
            <p:nvPr/>
          </p:nvSpPr>
          <p:spPr>
            <a:xfrm>
              <a:off x="9021282" y="136486"/>
              <a:ext cx="633109" cy="21443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defTabSz="914333">
                <a:spcBef>
                  <a:spcPts val="500"/>
                </a:spcBef>
              </a:pPr>
              <a:r>
                <a:rPr lang="en-US" sz="1000" kern="0">
                  <a:solidFill>
                    <a:srgbClr val="000000"/>
                  </a:solidFill>
                </a:rPr>
                <a:t>Delayed</a:t>
              </a:r>
              <a:endParaRPr lang="en-IN" sz="1000" kern="0">
                <a:solidFill>
                  <a:srgbClr val="000000"/>
                </a:solidFill>
              </a:endParaRPr>
            </a:p>
          </p:txBody>
        </p:sp>
        <p:sp>
          <p:nvSpPr>
            <p:cNvPr id="48" name="Diamond 47">
              <a:extLst>
                <a:ext uri="{FF2B5EF4-FFF2-40B4-BE49-F238E27FC236}">
                  <a16:creationId xmlns:a16="http://schemas.microsoft.com/office/drawing/2014/main" id="{0EE52D7D-9415-6433-3A77-6F3733F398CD}"/>
                </a:ext>
              </a:extLst>
            </p:cNvPr>
            <p:cNvSpPr/>
            <p:nvPr/>
          </p:nvSpPr>
          <p:spPr>
            <a:xfrm>
              <a:off x="5780844" y="98128"/>
              <a:ext cx="224116" cy="232001"/>
            </a:xfrm>
            <a:prstGeom prst="diamond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 cap="flat" cmpd="sng" algn="ctr">
              <a:solidFill>
                <a:srgbClr val="3F136C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333"/>
              <a:endParaRPr lang="en-IN" kern="0">
                <a:solidFill>
                  <a:srgbClr val="00B050"/>
                </a:solidFill>
                <a:latin typeface="Bosch Office Sans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ABC3C941-453B-55F2-9BF6-B2B336C083AF}"/>
                </a:ext>
              </a:extLst>
            </p:cNvPr>
            <p:cNvSpPr txBox="1"/>
            <p:nvPr/>
          </p:nvSpPr>
          <p:spPr>
            <a:xfrm>
              <a:off x="6035239" y="136486"/>
              <a:ext cx="633109" cy="21443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defTabSz="914333">
                <a:spcBef>
                  <a:spcPts val="500"/>
                </a:spcBef>
              </a:pPr>
              <a:r>
                <a:rPr lang="en-US" sz="1000" kern="0">
                  <a:solidFill>
                    <a:srgbClr val="000000"/>
                  </a:solidFill>
                </a:rPr>
                <a:t>Yet to Start</a:t>
              </a:r>
              <a:endParaRPr lang="en-IN" sz="1000" kern="0">
                <a:solidFill>
                  <a:srgbClr val="000000"/>
                </a:solidFill>
              </a:endParaRPr>
            </a:p>
          </p:txBody>
        </p: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D131957C-5B97-BA48-4349-7DBB145E77D5}"/>
              </a:ext>
            </a:extLst>
          </p:cNvPr>
          <p:cNvSpPr txBox="1"/>
          <p:nvPr/>
        </p:nvSpPr>
        <p:spPr>
          <a:xfrm>
            <a:off x="3422386" y="2491162"/>
            <a:ext cx="955079" cy="2169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algn="l"/>
            <a:endParaRPr lang="en-IN" sz="800" kern="0">
              <a:solidFill>
                <a:srgbClr val="000000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AEBE91E-39F7-F60E-5847-B3A6BB75809C}"/>
              </a:ext>
            </a:extLst>
          </p:cNvPr>
          <p:cNvSpPr txBox="1"/>
          <p:nvPr/>
        </p:nvSpPr>
        <p:spPr>
          <a:xfrm>
            <a:off x="266658" y="2476525"/>
            <a:ext cx="1282839" cy="162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algn="l"/>
            <a:r>
              <a:rPr lang="en-US" sz="800" kern="0">
                <a:solidFill>
                  <a:srgbClr val="000000"/>
                </a:solidFill>
              </a:rPr>
              <a:t>                    </a:t>
            </a:r>
          </a:p>
          <a:p>
            <a:pPr lvl="0" algn="l"/>
            <a:r>
              <a:rPr lang="en-US" sz="800" b="1" kern="0">
                <a:solidFill>
                  <a:srgbClr val="000000"/>
                </a:solidFill>
              </a:rPr>
              <a:t>         v4.00.STD.Release</a:t>
            </a:r>
            <a:endParaRPr lang="en-IN" sz="800" b="1" kern="0">
              <a:solidFill>
                <a:srgbClr val="000000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A6C5E96-D1D9-5DB7-63E1-1C1E72854C25}"/>
              </a:ext>
            </a:extLst>
          </p:cNvPr>
          <p:cNvPicPr>
            <a:picLocks/>
          </p:cNvPicPr>
          <p:nvPr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8401" y="5606137"/>
            <a:ext cx="911224" cy="442197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92770C0-6351-F184-2A65-19308AD72B50}"/>
              </a:ext>
            </a:extLst>
          </p:cNvPr>
          <p:cNvSpPr txBox="1"/>
          <p:nvPr/>
        </p:nvSpPr>
        <p:spPr>
          <a:xfrm>
            <a:off x="438546" y="1257918"/>
            <a:ext cx="2021765" cy="8480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38" indent="-171438" defTabSz="822564">
              <a:buFont typeface="Arial" panose="020B0604020202020204" pitchFamily="34" charset="0"/>
              <a:buChar char="•"/>
              <a:defRPr/>
            </a:pPr>
            <a:endParaRPr lang="en-US" sz="800">
              <a:solidFill>
                <a:srgbClr val="002060"/>
              </a:solidFill>
              <a:latin typeface="Calibri" panose="020F0502020204030204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CA09A0D-A1AB-E23A-9911-7FF8078A4B39}"/>
              </a:ext>
            </a:extLst>
          </p:cNvPr>
          <p:cNvSpPr txBox="1"/>
          <p:nvPr/>
        </p:nvSpPr>
        <p:spPr>
          <a:xfrm>
            <a:off x="3719383" y="3150061"/>
            <a:ext cx="2303868" cy="70200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marL="171438" indent="-171438" defTabSz="822564"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2060"/>
                </a:solidFill>
                <a:latin typeface="Calibri" panose="020F0502020204030204"/>
              </a:rPr>
              <a:t>Angular 18 Upgrade</a:t>
            </a:r>
          </a:p>
          <a:p>
            <a:pPr marL="171438" indent="-171438" defTabSz="822564"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2060"/>
                </a:solidFill>
                <a:latin typeface="Calibri" panose="020F0502020204030204"/>
              </a:rPr>
              <a:t>Console Errors in Diagnosis</a:t>
            </a:r>
          </a:p>
          <a:p>
            <a:pPr marL="171438" indent="-171438" defTabSz="822564"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2060"/>
                </a:solidFill>
                <a:latin typeface="Calibri" panose="020F0502020204030204"/>
              </a:rPr>
              <a:t>Configuration updates</a:t>
            </a:r>
          </a:p>
          <a:p>
            <a:pPr marL="171438" indent="-171438" defTabSz="822564"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2060"/>
                </a:solidFill>
                <a:latin typeface="Calibri" panose="020F0502020204030204"/>
              </a:rPr>
              <a:t>Bug Fixe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7FCF54B-688F-156D-D137-FE3EB23B9140}"/>
              </a:ext>
            </a:extLst>
          </p:cNvPr>
          <p:cNvSpPr txBox="1"/>
          <p:nvPr/>
        </p:nvSpPr>
        <p:spPr>
          <a:xfrm>
            <a:off x="599309" y="712061"/>
            <a:ext cx="1790964" cy="33081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marL="171438" indent="-171438"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2060"/>
                </a:solidFill>
                <a:latin typeface="Calibri" panose="020F0502020204030204"/>
              </a:rPr>
              <a:t>Migration of all features from Nexo1 web app to LuxaOS FE</a:t>
            </a:r>
          </a:p>
          <a:p>
            <a:pPr marL="171438" indent="-171438"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2060"/>
                </a:solidFill>
                <a:latin typeface="Calibri" panose="020F0502020204030204"/>
              </a:rPr>
              <a:t>IPM Screen</a:t>
            </a:r>
          </a:p>
          <a:p>
            <a:pPr marL="171438" indent="-171438">
              <a:buFont typeface="Arial" panose="020B0604020202020204" pitchFamily="34" charset="0"/>
              <a:buChar char="•"/>
            </a:pPr>
            <a:r>
              <a:rPr lang="en-US" sz="900" kern="0">
                <a:solidFill>
                  <a:srgbClr val="002060"/>
                </a:solidFill>
                <a:latin typeface="Calibri" panose="020F0502020204030204"/>
              </a:rPr>
              <a:t>Offline Screen</a:t>
            </a:r>
          </a:p>
          <a:p>
            <a:pPr marL="171438" indent="-171438">
              <a:buFont typeface="Arial" panose="020B0604020202020204" pitchFamily="34" charset="0"/>
              <a:buChar char="•"/>
            </a:pPr>
            <a:r>
              <a:rPr lang="en-US" sz="900" kern="0">
                <a:solidFill>
                  <a:srgbClr val="002060"/>
                </a:solidFill>
                <a:latin typeface="Calibri" panose="020F0502020204030204"/>
              </a:rPr>
              <a:t>WLAN screen</a:t>
            </a:r>
          </a:p>
          <a:p>
            <a:pPr marL="171438" indent="-171438">
              <a:buFont typeface="Arial" panose="020B0604020202020204" pitchFamily="34" charset="0"/>
              <a:buChar char="•"/>
            </a:pPr>
            <a:r>
              <a:rPr lang="en-US" sz="900" kern="0">
                <a:solidFill>
                  <a:srgbClr val="002060"/>
                </a:solidFill>
                <a:latin typeface="Calibri" panose="020F0502020204030204"/>
              </a:rPr>
              <a:t>Plausibility checks</a:t>
            </a:r>
          </a:p>
          <a:p>
            <a:pPr marL="171438" indent="-171438">
              <a:buFont typeface="Arial" panose="020B0604020202020204" pitchFamily="34" charset="0"/>
              <a:buChar char="•"/>
            </a:pPr>
            <a:r>
              <a:rPr lang="en-US" sz="900" kern="0">
                <a:solidFill>
                  <a:srgbClr val="002060"/>
                </a:solidFill>
                <a:latin typeface="Calibri" panose="020F0502020204030204"/>
              </a:rPr>
              <a:t>Mode/Jobs/programs update</a:t>
            </a:r>
          </a:p>
          <a:p>
            <a:pPr marL="171438" indent="-171438">
              <a:buFont typeface="Arial" panose="020B0604020202020204" pitchFamily="34" charset="0"/>
              <a:buChar char="•"/>
            </a:pPr>
            <a:r>
              <a:rPr lang="en-US" sz="900" kern="0">
                <a:solidFill>
                  <a:srgbClr val="002060"/>
                </a:solidFill>
                <a:latin typeface="Calibri" panose="020F0502020204030204"/>
              </a:rPr>
              <a:t>NTP server screen</a:t>
            </a:r>
          </a:p>
          <a:p>
            <a:pPr marL="171438" indent="-171438">
              <a:buFont typeface="Arial" panose="020B0604020202020204" pitchFamily="34" charset="0"/>
              <a:buChar char="•"/>
            </a:pPr>
            <a:endParaRPr lang="en-IN" sz="720" kern="0">
              <a:solidFill>
                <a:srgbClr val="92D050"/>
              </a:solidFill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2FD725E4-37A4-A4B4-9FBD-012F698A74EF}"/>
              </a:ext>
            </a:extLst>
          </p:cNvPr>
          <p:cNvSpPr txBox="1">
            <a:spLocks/>
          </p:cNvSpPr>
          <p:nvPr/>
        </p:nvSpPr>
        <p:spPr>
          <a:xfrm>
            <a:off x="259412" y="137395"/>
            <a:ext cx="10450800" cy="388787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519" spc="-55">
              <a:solidFill>
                <a:srgbClr val="BC0F79"/>
              </a:solidFill>
              <a:latin typeface="Bosch Sans Bold" panose="020B0704020202020204" pitchFamily="34" charset="0"/>
              <a:cs typeface="Arial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208D46CE-FCFF-F081-B1FD-F48198082684}"/>
              </a:ext>
            </a:extLst>
          </p:cNvPr>
          <p:cNvCxnSpPr>
            <a:cxnSpLocks/>
          </p:cNvCxnSpPr>
          <p:nvPr/>
        </p:nvCxnSpPr>
        <p:spPr>
          <a:xfrm flipH="1">
            <a:off x="320311" y="564476"/>
            <a:ext cx="9943260" cy="0"/>
          </a:xfrm>
          <a:prstGeom prst="line">
            <a:avLst/>
          </a:prstGeom>
          <a:ln w="19050">
            <a:solidFill>
              <a:srgbClr val="BD0F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Picture 38">
            <a:extLst>
              <a:ext uri="{FF2B5EF4-FFF2-40B4-BE49-F238E27FC236}">
                <a16:creationId xmlns:a16="http://schemas.microsoft.com/office/drawing/2014/main" id="{31E374C8-99B8-D500-3C33-68DC3E8AD09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371" t="3680" r="2373" b="90019"/>
          <a:stretch/>
        </p:blipFill>
        <p:spPr>
          <a:xfrm>
            <a:off x="10202628" y="52982"/>
            <a:ext cx="591788" cy="493984"/>
          </a:xfrm>
          <a:prstGeom prst="rect">
            <a:avLst/>
          </a:prstGeom>
        </p:spPr>
      </p:pic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3117B7E-1530-B377-67B0-C657DB6EAC1E}"/>
              </a:ext>
            </a:extLst>
          </p:cNvPr>
          <p:cNvCxnSpPr/>
          <p:nvPr/>
        </p:nvCxnSpPr>
        <p:spPr>
          <a:xfrm flipV="1">
            <a:off x="8610143" y="1049033"/>
            <a:ext cx="0" cy="422907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B0CA01A-9A13-0720-2811-9AD44F614CCF}"/>
              </a:ext>
            </a:extLst>
          </p:cNvPr>
          <p:cNvCxnSpPr/>
          <p:nvPr/>
        </p:nvCxnSpPr>
        <p:spPr>
          <a:xfrm flipV="1">
            <a:off x="7290096" y="1056966"/>
            <a:ext cx="0" cy="422907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4D8D406-F9AD-0CF6-CA61-B70304825E5C}"/>
              </a:ext>
            </a:extLst>
          </p:cNvPr>
          <p:cNvCxnSpPr/>
          <p:nvPr/>
        </p:nvCxnSpPr>
        <p:spPr>
          <a:xfrm flipV="1">
            <a:off x="2120818" y="1073972"/>
            <a:ext cx="0" cy="422907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9744D1E-6F1B-A041-E0A0-0E6D4BD4C897}"/>
              </a:ext>
            </a:extLst>
          </p:cNvPr>
          <p:cNvCxnSpPr/>
          <p:nvPr/>
        </p:nvCxnSpPr>
        <p:spPr>
          <a:xfrm flipV="1">
            <a:off x="355371" y="1045925"/>
            <a:ext cx="0" cy="422907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01B3D249-4043-2C1F-7AD0-CBAB9EE6296F}"/>
              </a:ext>
            </a:extLst>
          </p:cNvPr>
          <p:cNvCxnSpPr/>
          <p:nvPr/>
        </p:nvCxnSpPr>
        <p:spPr>
          <a:xfrm flipV="1">
            <a:off x="6628345" y="1046568"/>
            <a:ext cx="0" cy="422907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Arrow: Right 54">
            <a:extLst>
              <a:ext uri="{FF2B5EF4-FFF2-40B4-BE49-F238E27FC236}">
                <a16:creationId xmlns:a16="http://schemas.microsoft.com/office/drawing/2014/main" id="{0F273C9D-5886-1580-7E57-4BF725355C94}"/>
              </a:ext>
            </a:extLst>
          </p:cNvPr>
          <p:cNvSpPr/>
          <p:nvPr/>
        </p:nvSpPr>
        <p:spPr>
          <a:xfrm>
            <a:off x="4804612" y="3938484"/>
            <a:ext cx="5127795" cy="475115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rgbClr val="3F136C"/>
            </a:solidFill>
            <a:prstDash val="soli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defTabSz="914333"/>
            <a:endParaRPr lang="en-IN" kern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9253A82-C200-A527-D556-C5CC04EDF7BA}"/>
              </a:ext>
            </a:extLst>
          </p:cNvPr>
          <p:cNvSpPr txBox="1"/>
          <p:nvPr/>
        </p:nvSpPr>
        <p:spPr>
          <a:xfrm>
            <a:off x="6008924" y="4587958"/>
            <a:ext cx="1783174" cy="3661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algn="l"/>
            <a:r>
              <a:rPr lang="en-US" sz="800" b="1" kern="0">
                <a:solidFill>
                  <a:srgbClr val="000000"/>
                </a:solidFill>
              </a:rPr>
              <a:t>Implementation of v4.01.Release </a:t>
            </a:r>
            <a:endParaRPr lang="en-IN" sz="800" b="1" kern="0">
              <a:solidFill>
                <a:srgbClr val="00000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8E798B2-A7C7-4B7F-76C7-E16AF4C7ED22}"/>
              </a:ext>
            </a:extLst>
          </p:cNvPr>
          <p:cNvSpPr txBox="1"/>
          <p:nvPr/>
        </p:nvSpPr>
        <p:spPr>
          <a:xfrm>
            <a:off x="259412" y="65038"/>
            <a:ext cx="551101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spc="-55">
                <a:solidFill>
                  <a:srgbClr val="BC0F79"/>
                </a:solidFill>
                <a:latin typeface="Bosch Sans Bold" panose="020B0704020202020204" pitchFamily="34" charset="0"/>
                <a:cs typeface="Arial"/>
              </a:rPr>
              <a:t>LuxaOS roadmap</a:t>
            </a:r>
            <a:endParaRPr lang="en-GB" sz="2800" spc="-55">
              <a:solidFill>
                <a:srgbClr val="BC0F79"/>
              </a:solidFill>
              <a:latin typeface="Bosch Sans Bold" panose="020B0704020202020204" pitchFamily="34" charset="0"/>
              <a:cs typeface="Arial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582DC39-6F87-A41F-E561-C110968864DD}"/>
              </a:ext>
            </a:extLst>
          </p:cNvPr>
          <p:cNvSpPr txBox="1"/>
          <p:nvPr/>
        </p:nvSpPr>
        <p:spPr>
          <a:xfrm>
            <a:off x="3963468" y="2963342"/>
            <a:ext cx="955079" cy="2169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algn="l"/>
            <a:endParaRPr lang="en-IN" sz="800" kern="0">
              <a:solidFill>
                <a:srgbClr val="000000"/>
              </a:solidFill>
            </a:endParaRPr>
          </a:p>
        </p:txBody>
      </p: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DC055696-8FD6-253A-C690-3E8AADA26A3A}"/>
              </a:ext>
            </a:extLst>
          </p:cNvPr>
          <p:cNvCxnSpPr/>
          <p:nvPr/>
        </p:nvCxnSpPr>
        <p:spPr>
          <a:xfrm>
            <a:off x="4392513" y="2531367"/>
            <a:ext cx="0" cy="5290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7C58750-7D73-5477-4D15-346B1C6903AE}"/>
              </a:ext>
            </a:extLst>
          </p:cNvPr>
          <p:cNvCxnSpPr/>
          <p:nvPr/>
        </p:nvCxnSpPr>
        <p:spPr>
          <a:xfrm flipV="1">
            <a:off x="9304719" y="1037093"/>
            <a:ext cx="0" cy="422907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8CBF1E20-5E61-6185-46DF-31D0A25EC8EF}"/>
              </a:ext>
            </a:extLst>
          </p:cNvPr>
          <p:cNvCxnSpPr/>
          <p:nvPr/>
        </p:nvCxnSpPr>
        <p:spPr>
          <a:xfrm flipV="1">
            <a:off x="9937339" y="1059689"/>
            <a:ext cx="0" cy="422907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87403F87-8E91-C9DA-B892-11FED15CE278}"/>
              </a:ext>
            </a:extLst>
          </p:cNvPr>
          <p:cNvCxnSpPr>
            <a:cxnSpLocks/>
          </p:cNvCxnSpPr>
          <p:nvPr/>
        </p:nvCxnSpPr>
        <p:spPr>
          <a:xfrm flipV="1">
            <a:off x="891883" y="1803976"/>
            <a:ext cx="0" cy="4717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Arrow: Right 6">
            <a:extLst>
              <a:ext uri="{FF2B5EF4-FFF2-40B4-BE49-F238E27FC236}">
                <a16:creationId xmlns:a16="http://schemas.microsoft.com/office/drawing/2014/main" id="{5FCFE556-34EA-67CA-31D2-B3326C6CEA74}"/>
              </a:ext>
            </a:extLst>
          </p:cNvPr>
          <p:cNvSpPr/>
          <p:nvPr/>
        </p:nvSpPr>
        <p:spPr>
          <a:xfrm>
            <a:off x="351907" y="2107548"/>
            <a:ext cx="1460659" cy="475115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algn="ctr" defTabSz="914333"/>
            <a:endParaRPr lang="en-IN" kern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51" name="Diamond 50">
            <a:extLst>
              <a:ext uri="{FF2B5EF4-FFF2-40B4-BE49-F238E27FC236}">
                <a16:creationId xmlns:a16="http://schemas.microsoft.com/office/drawing/2014/main" id="{68B060C3-9F00-A935-F3FF-A388AF109AA6}"/>
              </a:ext>
            </a:extLst>
          </p:cNvPr>
          <p:cNvSpPr/>
          <p:nvPr/>
        </p:nvSpPr>
        <p:spPr>
          <a:xfrm>
            <a:off x="777384" y="2242365"/>
            <a:ext cx="224109" cy="231994"/>
          </a:xfrm>
          <a:prstGeom prst="diamond">
            <a:avLst/>
          </a:prstGeom>
          <a:solidFill>
            <a:srgbClr val="00B050"/>
          </a:solidFill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algn="ctr" defTabSz="914333"/>
            <a:endParaRPr lang="en-IN" kern="0">
              <a:solidFill>
                <a:srgbClr val="00B050"/>
              </a:solidFill>
              <a:latin typeface="Bosch Office Sans"/>
            </a:endParaRPr>
          </a:p>
        </p:txBody>
      </p:sp>
      <p:sp>
        <p:nvSpPr>
          <p:cNvPr id="10" name="Diamond 9">
            <a:extLst>
              <a:ext uri="{FF2B5EF4-FFF2-40B4-BE49-F238E27FC236}">
                <a16:creationId xmlns:a16="http://schemas.microsoft.com/office/drawing/2014/main" id="{B7ADAAD9-6027-C50B-4817-E1938509083A}"/>
              </a:ext>
            </a:extLst>
          </p:cNvPr>
          <p:cNvSpPr/>
          <p:nvPr/>
        </p:nvSpPr>
        <p:spPr>
          <a:xfrm>
            <a:off x="4273795" y="2268257"/>
            <a:ext cx="224109" cy="231994"/>
          </a:xfrm>
          <a:prstGeom prst="diamond">
            <a:avLst/>
          </a:prstGeom>
          <a:solidFill>
            <a:srgbClr val="00B050"/>
          </a:solidFill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algn="ctr" defTabSz="914333"/>
            <a:endParaRPr lang="en-IN" kern="0">
              <a:solidFill>
                <a:srgbClr val="00B050"/>
              </a:solidFill>
              <a:latin typeface="Bosch Office San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63129163-91BC-6F8F-C1AC-5BF48226FF54}"/>
              </a:ext>
            </a:extLst>
          </p:cNvPr>
          <p:cNvSpPr txBox="1"/>
          <p:nvPr/>
        </p:nvSpPr>
        <p:spPr>
          <a:xfrm>
            <a:off x="4996420" y="3688581"/>
            <a:ext cx="955079" cy="2169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algn="l"/>
            <a:endParaRPr lang="en-IN" sz="800" kern="0">
              <a:solidFill>
                <a:srgbClr val="000000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8C613849-C126-7F0E-E6B8-C6EBEFF559C4}"/>
              </a:ext>
            </a:extLst>
          </p:cNvPr>
          <p:cNvSpPr txBox="1"/>
          <p:nvPr/>
        </p:nvSpPr>
        <p:spPr>
          <a:xfrm>
            <a:off x="4964268" y="3033576"/>
            <a:ext cx="1528792" cy="17460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720">
              <a:solidFill>
                <a:srgbClr val="002060"/>
              </a:solidFill>
              <a:latin typeface="Calibri" panose="020F0502020204030204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C8F3E702-AA16-DF29-D78C-5E07D7A8B133}"/>
              </a:ext>
            </a:extLst>
          </p:cNvPr>
          <p:cNvSpPr txBox="1"/>
          <p:nvPr/>
        </p:nvSpPr>
        <p:spPr>
          <a:xfrm>
            <a:off x="7748524" y="4328392"/>
            <a:ext cx="1420890" cy="3661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algn="l"/>
            <a:r>
              <a:rPr lang="en-US" sz="800" b="1" kern="0">
                <a:solidFill>
                  <a:srgbClr val="000000"/>
                </a:solidFill>
              </a:rPr>
              <a:t>V4.00.STD.SP4.Release </a:t>
            </a:r>
            <a:endParaRPr lang="en-IN" sz="800" b="1" kern="0">
              <a:solidFill>
                <a:srgbClr val="000000"/>
              </a:solidFill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EB4BDDA-C2B4-1DD2-ED82-2B4F570C5858}"/>
              </a:ext>
            </a:extLst>
          </p:cNvPr>
          <p:cNvSpPr txBox="1"/>
          <p:nvPr/>
        </p:nvSpPr>
        <p:spPr>
          <a:xfrm>
            <a:off x="1614053" y="4635784"/>
            <a:ext cx="1528792" cy="17460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en-US" sz="1000">
                <a:solidFill>
                  <a:srgbClr val="002060"/>
                </a:solidFill>
                <a:latin typeface="Calibri" panose="020F0502020204030204"/>
              </a:rPr>
              <a:t>Implementation of v.4.0.0.Release</a:t>
            </a:r>
          </a:p>
        </p:txBody>
      </p: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FD6C5942-2364-2D3D-8A19-51AAD61B8221}"/>
              </a:ext>
            </a:extLst>
          </p:cNvPr>
          <p:cNvCxnSpPr>
            <a:cxnSpLocks/>
          </p:cNvCxnSpPr>
          <p:nvPr/>
        </p:nvCxnSpPr>
        <p:spPr>
          <a:xfrm>
            <a:off x="2503728" y="5010245"/>
            <a:ext cx="190518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E249639C-842B-51A9-02AD-CBA812CC22BB}"/>
              </a:ext>
            </a:extLst>
          </p:cNvPr>
          <p:cNvCxnSpPr/>
          <p:nvPr/>
        </p:nvCxnSpPr>
        <p:spPr>
          <a:xfrm flipH="1">
            <a:off x="446287" y="4954865"/>
            <a:ext cx="9898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8A619419-EFF7-B886-9A29-117B3D1DD17E}"/>
              </a:ext>
            </a:extLst>
          </p:cNvPr>
          <p:cNvSpPr txBox="1"/>
          <p:nvPr/>
        </p:nvSpPr>
        <p:spPr>
          <a:xfrm>
            <a:off x="5950270" y="4328623"/>
            <a:ext cx="1420890" cy="3661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algn="l"/>
            <a:r>
              <a:rPr lang="en-US" sz="800" kern="0">
                <a:solidFill>
                  <a:srgbClr val="000000"/>
                </a:solidFill>
              </a:rPr>
              <a:t>                         </a:t>
            </a:r>
          </a:p>
          <a:p>
            <a:pPr lvl="0" algn="l"/>
            <a:r>
              <a:rPr lang="en-US" sz="800" kern="0">
                <a:solidFill>
                  <a:srgbClr val="000000"/>
                </a:solidFill>
              </a:rPr>
              <a:t> </a:t>
            </a:r>
            <a:endParaRPr lang="en-IN" sz="800" kern="0">
              <a:solidFill>
                <a:srgbClr val="000000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39F4A06-CB1E-B43D-F58E-D00215541E2C}"/>
              </a:ext>
            </a:extLst>
          </p:cNvPr>
          <p:cNvSpPr txBox="1"/>
          <p:nvPr/>
        </p:nvSpPr>
        <p:spPr>
          <a:xfrm>
            <a:off x="5853916" y="3457424"/>
            <a:ext cx="1791607" cy="47396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marL="171438" indent="-171438">
              <a:buFont typeface="Arial" panose="020B0604020202020204" pitchFamily="34" charset="0"/>
              <a:buChar char="•"/>
            </a:pPr>
            <a:endParaRPr lang="en-IN" sz="720">
              <a:solidFill>
                <a:srgbClr val="002060"/>
              </a:solidFill>
              <a:latin typeface="Calibri" panose="020F0502020204030204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812F63A-BC79-0195-A41B-63FBA3F2FF40}"/>
              </a:ext>
            </a:extLst>
          </p:cNvPr>
          <p:cNvSpPr txBox="1"/>
          <p:nvPr/>
        </p:nvSpPr>
        <p:spPr>
          <a:xfrm>
            <a:off x="7407414" y="2558910"/>
            <a:ext cx="1894867" cy="69417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marL="171438" indent="-171438">
              <a:buFont typeface="Arial" panose="020B0604020202020204" pitchFamily="34" charset="0"/>
              <a:buChar char="•"/>
            </a:pPr>
            <a:r>
              <a:rPr lang="en-IN" sz="900">
                <a:solidFill>
                  <a:srgbClr val="002060"/>
                </a:solidFill>
                <a:latin typeface="Calibri" panose="020F0502020204030204"/>
              </a:rPr>
              <a:t>Configuration- Validation Check</a:t>
            </a:r>
          </a:p>
          <a:p>
            <a:pPr marL="171438" indent="-171438">
              <a:buFont typeface="Arial" panose="020B0604020202020204" pitchFamily="34" charset="0"/>
              <a:buChar char="•"/>
            </a:pPr>
            <a:r>
              <a:rPr lang="en-IN" sz="900" err="1">
                <a:solidFill>
                  <a:srgbClr val="002060"/>
                </a:solidFill>
                <a:latin typeface="Calibri" panose="020F0502020204030204"/>
              </a:rPr>
              <a:t>Iperf</a:t>
            </a:r>
            <a:r>
              <a:rPr lang="en-IN" sz="900">
                <a:solidFill>
                  <a:srgbClr val="002060"/>
                </a:solidFill>
                <a:latin typeface="Calibri" panose="020F0502020204030204"/>
              </a:rPr>
              <a:t> UI Design</a:t>
            </a:r>
          </a:p>
          <a:p>
            <a:pPr marL="171438" indent="-171438">
              <a:buFont typeface="Arial" panose="020B0604020202020204" pitchFamily="34" charset="0"/>
              <a:buChar char="•"/>
            </a:pPr>
            <a:r>
              <a:rPr lang="en-IN" sz="900" err="1">
                <a:solidFill>
                  <a:srgbClr val="002060"/>
                </a:solidFill>
                <a:latin typeface="Calibri" panose="020F0502020204030204"/>
              </a:rPr>
              <a:t>Iperf</a:t>
            </a:r>
            <a:r>
              <a:rPr lang="en-IN" sz="900">
                <a:solidFill>
                  <a:srgbClr val="002060"/>
                </a:solidFill>
                <a:latin typeface="Calibri" panose="020F0502020204030204"/>
              </a:rPr>
              <a:t> Plausibility Implementation</a:t>
            </a:r>
          </a:p>
          <a:p>
            <a:pPr marL="171438" indent="-171438">
              <a:buFont typeface="Arial" panose="020B0604020202020204" pitchFamily="34" charset="0"/>
              <a:buChar char="•"/>
            </a:pPr>
            <a:endParaRPr lang="en-IN" sz="720">
              <a:solidFill>
                <a:srgbClr val="002060"/>
              </a:solidFill>
              <a:latin typeface="Calibri" panose="020F0502020204030204"/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7FEC6A99-AB22-1CCE-DB54-0556F517AA70}"/>
              </a:ext>
            </a:extLst>
          </p:cNvPr>
          <p:cNvCxnSpPr>
            <a:cxnSpLocks/>
          </p:cNvCxnSpPr>
          <p:nvPr/>
        </p:nvCxnSpPr>
        <p:spPr>
          <a:xfrm flipH="1" flipV="1">
            <a:off x="8331177" y="3106654"/>
            <a:ext cx="7066" cy="8164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Diamond 41">
            <a:extLst>
              <a:ext uri="{FF2B5EF4-FFF2-40B4-BE49-F238E27FC236}">
                <a16:creationId xmlns:a16="http://schemas.microsoft.com/office/drawing/2014/main" id="{E22B6167-6BA7-E131-2AD8-CAB82608163B}"/>
              </a:ext>
            </a:extLst>
          </p:cNvPr>
          <p:cNvSpPr/>
          <p:nvPr/>
        </p:nvSpPr>
        <p:spPr>
          <a:xfrm>
            <a:off x="6433368" y="4060044"/>
            <a:ext cx="224109" cy="231994"/>
          </a:xfrm>
          <a:prstGeom prst="diamond">
            <a:avLst/>
          </a:prstGeom>
          <a:solidFill>
            <a:srgbClr val="00B050"/>
          </a:solidFill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algn="ctr" defTabSz="914333"/>
            <a:endParaRPr lang="en-IN" kern="0">
              <a:solidFill>
                <a:srgbClr val="00B050"/>
              </a:solidFill>
              <a:latin typeface="Bosch Office Sans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07187C4C-46E4-472F-C446-37E706ADC9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9412" y="5799637"/>
            <a:ext cx="9367426" cy="29531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B605018-1DB0-299A-B211-BFA725C223F4}"/>
              </a:ext>
            </a:extLst>
          </p:cNvPr>
          <p:cNvSpPr txBox="1"/>
          <p:nvPr/>
        </p:nvSpPr>
        <p:spPr>
          <a:xfrm>
            <a:off x="7842010" y="4725964"/>
            <a:ext cx="1343107" cy="23418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endParaRPr lang="en-IN" sz="720" b="1">
              <a:solidFill>
                <a:srgbClr val="002060"/>
              </a:solidFill>
              <a:latin typeface="Calibri" panose="020F0502020204030204"/>
            </a:endParaRPr>
          </a:p>
        </p:txBody>
      </p:sp>
      <p:sp>
        <p:nvSpPr>
          <p:cNvPr id="65" name="Diamond 64">
            <a:extLst>
              <a:ext uri="{FF2B5EF4-FFF2-40B4-BE49-F238E27FC236}">
                <a16:creationId xmlns:a16="http://schemas.microsoft.com/office/drawing/2014/main" id="{6E58D970-1F60-68C5-5FEA-1593E83A33F1}"/>
              </a:ext>
            </a:extLst>
          </p:cNvPr>
          <p:cNvSpPr/>
          <p:nvPr/>
        </p:nvSpPr>
        <p:spPr>
          <a:xfrm>
            <a:off x="8247828" y="4053382"/>
            <a:ext cx="224109" cy="231994"/>
          </a:xfrm>
          <a:prstGeom prst="diamond">
            <a:avLst/>
          </a:prstGeom>
          <a:solidFill>
            <a:srgbClr val="00B050"/>
          </a:solidFill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algn="ctr" defTabSz="914333"/>
            <a:endParaRPr lang="en-IN" kern="0">
              <a:solidFill>
                <a:srgbClr val="00B050"/>
              </a:solidFill>
              <a:latin typeface="Bosch Office Sans"/>
            </a:endParaRPr>
          </a:p>
        </p:txBody>
      </p:sp>
      <p:sp>
        <p:nvSpPr>
          <p:cNvPr id="62" name="Diamond 61">
            <a:extLst>
              <a:ext uri="{FF2B5EF4-FFF2-40B4-BE49-F238E27FC236}">
                <a16:creationId xmlns:a16="http://schemas.microsoft.com/office/drawing/2014/main" id="{F3CE9942-195D-322A-EBE4-B7D70EDB68DD}"/>
              </a:ext>
            </a:extLst>
          </p:cNvPr>
          <p:cNvSpPr/>
          <p:nvPr/>
        </p:nvSpPr>
        <p:spPr>
          <a:xfrm>
            <a:off x="1354833" y="2236921"/>
            <a:ext cx="224109" cy="231994"/>
          </a:xfrm>
          <a:prstGeom prst="diamond">
            <a:avLst/>
          </a:prstGeom>
          <a:solidFill>
            <a:srgbClr val="00B050"/>
          </a:solidFill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algn="ctr" defTabSz="914333"/>
            <a:endParaRPr lang="en-IN" kern="0">
              <a:solidFill>
                <a:srgbClr val="00B050"/>
              </a:solidFill>
              <a:latin typeface="Bosch Office San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DDC00618-5936-1697-3B1B-495F76D71A8E}"/>
              </a:ext>
            </a:extLst>
          </p:cNvPr>
          <p:cNvSpPr txBox="1"/>
          <p:nvPr/>
        </p:nvSpPr>
        <p:spPr>
          <a:xfrm>
            <a:off x="874661" y="2756903"/>
            <a:ext cx="437912" cy="1712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algn="l"/>
            <a:r>
              <a:rPr lang="en-US" sz="800">
                <a:solidFill>
                  <a:srgbClr val="002060"/>
                </a:solidFill>
              </a:rPr>
              <a:t> </a:t>
            </a:r>
            <a:endParaRPr lang="en-IN" sz="800" kern="0">
              <a:solidFill>
                <a:srgbClr val="000000"/>
              </a:solidFill>
            </a:endParaRPr>
          </a:p>
        </p:txBody>
      </p: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7756613C-5980-AD09-CD96-9556A9C7AA74}"/>
              </a:ext>
            </a:extLst>
          </p:cNvPr>
          <p:cNvCxnSpPr>
            <a:cxnSpLocks/>
          </p:cNvCxnSpPr>
          <p:nvPr/>
        </p:nvCxnSpPr>
        <p:spPr>
          <a:xfrm>
            <a:off x="1507550" y="2306604"/>
            <a:ext cx="5" cy="7269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id="{08DA9B3F-5707-DA80-C823-883E111D7A8F}"/>
              </a:ext>
            </a:extLst>
          </p:cNvPr>
          <p:cNvSpPr txBox="1"/>
          <p:nvPr/>
        </p:nvSpPr>
        <p:spPr>
          <a:xfrm>
            <a:off x="3833173" y="2107548"/>
            <a:ext cx="1810709" cy="515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V4.00.STD.SP2.Release</a:t>
            </a:r>
          </a:p>
        </p:txBody>
      </p:sp>
      <p:sp>
        <p:nvSpPr>
          <p:cNvPr id="77" name="Diamond 76">
            <a:extLst>
              <a:ext uri="{FF2B5EF4-FFF2-40B4-BE49-F238E27FC236}">
                <a16:creationId xmlns:a16="http://schemas.microsoft.com/office/drawing/2014/main" id="{1821D6AB-86D0-47C1-F8B8-FA720A243D9D}"/>
              </a:ext>
            </a:extLst>
          </p:cNvPr>
          <p:cNvSpPr/>
          <p:nvPr/>
        </p:nvSpPr>
        <p:spPr>
          <a:xfrm>
            <a:off x="9333850" y="4053382"/>
            <a:ext cx="224109" cy="231994"/>
          </a:xfrm>
          <a:prstGeom prst="diamond">
            <a:avLst/>
          </a:prstGeom>
          <a:solidFill>
            <a:srgbClr val="FFFF00"/>
          </a:solidFill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algn="ctr" defTabSz="914333"/>
            <a:endParaRPr lang="en-IN" kern="0">
              <a:solidFill>
                <a:srgbClr val="00B050"/>
              </a:solidFill>
              <a:latin typeface="Bosch Office San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F6438325-827B-F704-9B2D-F30F8DB4BFE4}"/>
              </a:ext>
            </a:extLst>
          </p:cNvPr>
          <p:cNvSpPr txBox="1"/>
          <p:nvPr/>
        </p:nvSpPr>
        <p:spPr>
          <a:xfrm>
            <a:off x="9156335" y="3524801"/>
            <a:ext cx="1513600" cy="3661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algn="l"/>
            <a:r>
              <a:rPr lang="en-US" sz="800" b="1" kern="0">
                <a:solidFill>
                  <a:srgbClr val="000000"/>
                </a:solidFill>
              </a:rPr>
              <a:t>V4.01.STD..Release </a:t>
            </a:r>
            <a:endParaRPr lang="en-IN" sz="800" b="1" kern="0">
              <a:solidFill>
                <a:srgbClr val="000000"/>
              </a:solidFill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E13B3F7A-45B0-1F1E-E014-45619C2F4BD6}"/>
              </a:ext>
            </a:extLst>
          </p:cNvPr>
          <p:cNvSpPr txBox="1"/>
          <p:nvPr/>
        </p:nvSpPr>
        <p:spPr>
          <a:xfrm>
            <a:off x="992655" y="3080288"/>
            <a:ext cx="136076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1" kern="0">
                <a:solidFill>
                  <a:srgbClr val="000000"/>
                </a:solidFill>
              </a:rPr>
              <a:t>v4.00.STD.SP1.Release</a:t>
            </a:r>
            <a:endParaRPr lang="en-US" sz="800" b="1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6DF7BBF3-E928-472E-E956-86CA3120A4FD}"/>
              </a:ext>
            </a:extLst>
          </p:cNvPr>
          <p:cNvSpPr txBox="1"/>
          <p:nvPr/>
        </p:nvSpPr>
        <p:spPr>
          <a:xfrm>
            <a:off x="983677" y="3341930"/>
            <a:ext cx="1674204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38" indent="-171438"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2060"/>
                </a:solidFill>
                <a:latin typeface="Calibri" panose="020F0502020204030204"/>
              </a:rPr>
              <a:t>Plausibility Checks</a:t>
            </a:r>
          </a:p>
          <a:p>
            <a:pPr marL="171438" indent="-171438"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2060"/>
                </a:solidFill>
                <a:latin typeface="Calibri" panose="020F0502020204030204"/>
              </a:rPr>
              <a:t>IPM Screen</a:t>
            </a:r>
          </a:p>
          <a:p>
            <a:pPr marL="171438" indent="-171438">
              <a:buFont typeface="Arial" panose="020B0604020202020204" pitchFamily="34" charset="0"/>
              <a:buChar char="•"/>
            </a:pPr>
            <a:r>
              <a:rPr lang="en-US" sz="900" kern="0">
                <a:solidFill>
                  <a:srgbClr val="002060"/>
                </a:solidFill>
                <a:latin typeface="Calibri" panose="020F0502020204030204"/>
              </a:rPr>
              <a:t>Online Help</a:t>
            </a:r>
          </a:p>
          <a:p>
            <a:pPr marL="171438" indent="-171438">
              <a:buFont typeface="Arial" panose="020B0604020202020204" pitchFamily="34" charset="0"/>
              <a:buChar char="•"/>
            </a:pPr>
            <a:r>
              <a:rPr lang="en-US" sz="900" kern="0">
                <a:solidFill>
                  <a:srgbClr val="002060"/>
                </a:solidFill>
                <a:latin typeface="Calibri" panose="020F0502020204030204"/>
              </a:rPr>
              <a:t>Multilingual inconsistencies</a:t>
            </a:r>
          </a:p>
          <a:p>
            <a:pPr marL="171438" indent="-171438">
              <a:buFont typeface="Arial" panose="020B0604020202020204" pitchFamily="34" charset="0"/>
              <a:buChar char="•"/>
            </a:pPr>
            <a:r>
              <a:rPr lang="en-US" sz="900" kern="0">
                <a:solidFill>
                  <a:srgbClr val="002060"/>
                </a:solidFill>
                <a:latin typeface="Calibri" panose="020F0502020204030204"/>
              </a:rPr>
              <a:t>Minor Bug fixes</a:t>
            </a:r>
          </a:p>
        </p:txBody>
      </p: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24C7F21C-C924-11D0-5A1C-685EB2BC564E}"/>
              </a:ext>
            </a:extLst>
          </p:cNvPr>
          <p:cNvCxnSpPr/>
          <p:nvPr/>
        </p:nvCxnSpPr>
        <p:spPr>
          <a:xfrm flipH="1">
            <a:off x="4918547" y="4635784"/>
            <a:ext cx="9898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942F0FC2-B7AD-D8C2-399C-AA68BC45040C}"/>
              </a:ext>
            </a:extLst>
          </p:cNvPr>
          <p:cNvCxnSpPr>
            <a:cxnSpLocks/>
          </p:cNvCxnSpPr>
          <p:nvPr/>
        </p:nvCxnSpPr>
        <p:spPr>
          <a:xfrm>
            <a:off x="7535252" y="4653379"/>
            <a:ext cx="190518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Box 79">
            <a:extLst>
              <a:ext uri="{FF2B5EF4-FFF2-40B4-BE49-F238E27FC236}">
                <a16:creationId xmlns:a16="http://schemas.microsoft.com/office/drawing/2014/main" id="{F1AD15D1-19EA-3644-AEAC-704A5F619287}"/>
              </a:ext>
            </a:extLst>
          </p:cNvPr>
          <p:cNvSpPr txBox="1"/>
          <p:nvPr/>
        </p:nvSpPr>
        <p:spPr>
          <a:xfrm>
            <a:off x="9266493" y="1651530"/>
            <a:ext cx="1168998" cy="11665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marR="0" indent="-17145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900" kern="0">
                <a:solidFill>
                  <a:schemeClr val="accent1">
                    <a:lumMod val="50000"/>
                  </a:schemeClr>
                </a:solidFill>
              </a:rPr>
              <a:t>Angular updates to v20</a:t>
            </a:r>
          </a:p>
          <a:p>
            <a:pPr marL="171450" indent="-171450" fontAlgn="auto"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900" kern="0">
                <a:solidFill>
                  <a:schemeClr val="accent1">
                    <a:lumMod val="50000"/>
                  </a:schemeClr>
                </a:solidFill>
              </a:rPr>
              <a:t>UX Enhancements</a:t>
            </a:r>
          </a:p>
          <a:p>
            <a:pPr marL="171450" indent="-171450" fontAlgn="auto"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900" kern="0">
                <a:solidFill>
                  <a:schemeClr val="accent1">
                    <a:lumMod val="50000"/>
                  </a:schemeClr>
                </a:solidFill>
              </a:rPr>
              <a:t>Favorite Feature</a:t>
            </a:r>
          </a:p>
          <a:p>
            <a:pPr marL="171450" indent="-171450" fontAlgn="auto"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900" kern="0">
                <a:solidFill>
                  <a:schemeClr val="accent1">
                    <a:lumMod val="50000"/>
                  </a:schemeClr>
                </a:solidFill>
              </a:rPr>
              <a:t>Menu Structure Change</a:t>
            </a:r>
          </a:p>
          <a:p>
            <a:pPr marL="171450" indent="-171450" fontAlgn="auto"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900" kern="0">
                <a:solidFill>
                  <a:schemeClr val="accent1">
                    <a:lumMod val="50000"/>
                  </a:schemeClr>
                </a:solidFill>
              </a:rPr>
              <a:t>Connected System Detection</a:t>
            </a:r>
          </a:p>
          <a:p>
            <a:pPr marL="171450" indent="-171450" fontAlgn="auto"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900" kern="0">
                <a:solidFill>
                  <a:schemeClr val="accent1">
                    <a:lumMod val="50000"/>
                  </a:schemeClr>
                </a:solidFill>
              </a:rPr>
              <a:t>Login Backend Images</a:t>
            </a:r>
          </a:p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tabLst/>
            </a:pP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7279312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0FCB23-9BDA-1CB5-DDF7-331FACE1D4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50E493-F195-41B0-76CA-BF3E02A6A5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37598" y="277576"/>
            <a:ext cx="10450800" cy="388800"/>
          </a:xfrm>
        </p:spPr>
        <p:txBody>
          <a:bodyPr/>
          <a:lstStyle/>
          <a:p>
            <a:r>
              <a:rPr lang="en-US" sz="2519" b="1" kern="1200">
                <a:solidFill>
                  <a:srgbClr val="CC0099"/>
                </a:solidFill>
                <a:latin typeface="Bosch Office Sans" pitchFamily="34" charset="0"/>
              </a:rPr>
              <a:t>E2E Test Automation – 2025 Summ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900AF5-2196-8D19-04BB-5E14CDCBAA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37598" y="5558302"/>
            <a:ext cx="288290" cy="410210"/>
          </a:xfrm>
        </p:spPr>
        <p:txBody>
          <a:bodyPr/>
          <a:lstStyle/>
          <a:p>
            <a:fld id="{4898AEC0-503E-4FA4-859C-D0F72D6E3F79}" type="slidenum">
              <a:rPr lang="en-US" noProof="1" smtClean="0"/>
              <a:pPr/>
              <a:t>14</a:t>
            </a:fld>
            <a:endParaRPr lang="en-US" noProof="1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EE6744A-358C-C9C0-E844-155D1E9C0E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37310" y="666376"/>
            <a:ext cx="6586778" cy="3090424"/>
          </a:xfrm>
          <a:prstGeom prst="rect">
            <a:avLst/>
          </a:prstGeom>
        </p:spPr>
      </p:pic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C8A76DEF-7F87-1D28-7DCF-6B980CAA4B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0742630"/>
              </p:ext>
            </p:extLst>
          </p:nvPr>
        </p:nvGraphicFramePr>
        <p:xfrm>
          <a:off x="193731" y="1286638"/>
          <a:ext cx="3556860" cy="11504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5620">
                  <a:extLst>
                    <a:ext uri="{9D8B030D-6E8A-4147-A177-3AD203B41FA5}">
                      <a16:colId xmlns:a16="http://schemas.microsoft.com/office/drawing/2014/main" val="587214150"/>
                    </a:ext>
                  </a:extLst>
                </a:gridCol>
                <a:gridCol w="1185620">
                  <a:extLst>
                    <a:ext uri="{9D8B030D-6E8A-4147-A177-3AD203B41FA5}">
                      <a16:colId xmlns:a16="http://schemas.microsoft.com/office/drawing/2014/main" val="114687289"/>
                    </a:ext>
                  </a:extLst>
                </a:gridCol>
                <a:gridCol w="1185620">
                  <a:extLst>
                    <a:ext uri="{9D8B030D-6E8A-4147-A177-3AD203B41FA5}">
                      <a16:colId xmlns:a16="http://schemas.microsoft.com/office/drawing/2014/main" val="2808398154"/>
                    </a:ext>
                  </a:extLst>
                </a:gridCol>
              </a:tblGrid>
              <a:tr h="536877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Screens Cove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Total Test Cas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7377715"/>
                  </a:ext>
                </a:extLst>
              </a:tr>
              <a:tr h="306787">
                <a:tc>
                  <a:txBody>
                    <a:bodyPr/>
                    <a:lstStyle/>
                    <a:p>
                      <a:r>
                        <a:rPr lang="en-US" sz="1050"/>
                        <a:t>Jan- 20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/>
                        <a:t>8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04250474"/>
                  </a:ext>
                </a:extLst>
              </a:tr>
              <a:tr h="306787">
                <a:tc>
                  <a:txBody>
                    <a:bodyPr/>
                    <a:lstStyle/>
                    <a:p>
                      <a:r>
                        <a:rPr lang="en-US" sz="1050"/>
                        <a:t>Nov-20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/>
                        <a:t>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/>
                        <a:t>2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0762235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DDC78AA2-8113-AA4E-5D31-2145E046F0DA}"/>
              </a:ext>
            </a:extLst>
          </p:cNvPr>
          <p:cNvSpPr txBox="1"/>
          <p:nvPr/>
        </p:nvSpPr>
        <p:spPr>
          <a:xfrm>
            <a:off x="237598" y="2706998"/>
            <a:ext cx="5943600" cy="17110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500"/>
              </a:spcBef>
              <a:spcAft>
                <a:spcPts val="0"/>
              </a:spcAft>
            </a:pPr>
            <a:r>
              <a:rPr lang="en-US" sz="800" b="1" kern="0">
                <a:solidFill>
                  <a:srgbClr val="000000"/>
                </a:solidFill>
              </a:rPr>
              <a:t>Current Challenges:</a:t>
            </a:r>
          </a:p>
          <a:p>
            <a:pPr fontAlgn="auto">
              <a:spcBef>
                <a:spcPts val="500"/>
              </a:spcBef>
              <a:spcAft>
                <a:spcPts val="0"/>
              </a:spcAft>
            </a:pPr>
            <a:endParaRPr lang="en-US" sz="800" b="1" kern="0">
              <a:solidFill>
                <a:srgbClr val="000000"/>
              </a:solidFill>
            </a:endParaRP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800" kern="0">
                <a:solidFill>
                  <a:srgbClr val="000000"/>
                </a:solidFill>
              </a:rPr>
              <a:t>Ensuring Consistent Availability of the Nexo Controller </a:t>
            </a: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800" kern="0">
                <a:solidFill>
                  <a:srgbClr val="000000"/>
                </a:solidFill>
              </a:rPr>
              <a:t>Effective Communication to stakeholders post Test Execution</a:t>
            </a:r>
          </a:p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4213576-9353-BAA5-9A3D-6AF064B97AD7}"/>
              </a:ext>
            </a:extLst>
          </p:cNvPr>
          <p:cNvSpPr txBox="1"/>
          <p:nvPr/>
        </p:nvSpPr>
        <p:spPr>
          <a:xfrm>
            <a:off x="173288" y="3608214"/>
            <a:ext cx="5579389" cy="21930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800" b="1" kern="0">
                <a:solidFill>
                  <a:srgbClr val="000000"/>
                </a:solidFill>
              </a:rPr>
              <a:t>Further</a:t>
            </a: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lang="en-US" sz="800" b="1" kern="0">
                <a:solidFill>
                  <a:srgbClr val="000000"/>
                </a:solidFill>
              </a:rPr>
              <a:t>I</a:t>
            </a:r>
            <a:r>
              <a:rPr kumimoji="0" lang="en-US" sz="8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mprovements</a:t>
            </a: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: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800" kern="0">
                <a:solidFill>
                  <a:srgbClr val="000000"/>
                </a:solidFill>
              </a:rPr>
              <a:t>More organized reporting with increase in volume of test cases</a:t>
            </a: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800" kern="0">
                <a:solidFill>
                  <a:srgbClr val="000000"/>
                </a:solidFill>
              </a:rPr>
              <a:t>Automating all the bugs reported under v4.01 under the test coverage</a:t>
            </a:r>
          </a:p>
          <a:p>
            <a:pPr fontAlgn="auto">
              <a:spcBef>
                <a:spcPts val="500"/>
              </a:spcBef>
              <a:spcAft>
                <a:spcPts val="0"/>
              </a:spcAft>
            </a:pPr>
            <a:endParaRPr lang="en-US" sz="800" kern="0">
              <a:solidFill>
                <a:srgbClr val="000000"/>
              </a:solidFill>
            </a:endParaRPr>
          </a:p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094508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7A2649-17DA-CE05-2400-E99BD8D1BB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37598" y="277576"/>
            <a:ext cx="10450800" cy="388800"/>
          </a:xfrm>
        </p:spPr>
        <p:txBody>
          <a:bodyPr/>
          <a:lstStyle/>
          <a:p>
            <a:r>
              <a:rPr lang="en-US" sz="2519" b="1" kern="1200">
                <a:solidFill>
                  <a:srgbClr val="CC0099"/>
                </a:solidFill>
                <a:latin typeface="Bosch Office Sans" pitchFamily="34" charset="0"/>
              </a:rPr>
              <a:t>Azure </a:t>
            </a:r>
            <a:r>
              <a:rPr lang="en-US" sz="2519" b="1" kern="1200" err="1">
                <a:solidFill>
                  <a:srgbClr val="CC0099"/>
                </a:solidFill>
                <a:latin typeface="Bosch Office Sans" pitchFamily="34" charset="0"/>
              </a:rPr>
              <a:t>Devops</a:t>
            </a:r>
            <a:r>
              <a:rPr lang="en-US" sz="2519" b="1" kern="1200">
                <a:solidFill>
                  <a:srgbClr val="CC0099"/>
                </a:solidFill>
                <a:latin typeface="Bosch Office Sans" pitchFamily="34" charset="0"/>
              </a:rPr>
              <a:t> Automation – 2025 Summ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F57594-08FC-6F72-7623-C1EEA3D427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37598" y="5558302"/>
            <a:ext cx="288290" cy="410210"/>
          </a:xfrm>
        </p:spPr>
        <p:txBody>
          <a:bodyPr/>
          <a:lstStyle/>
          <a:p>
            <a:fld id="{4898AEC0-503E-4FA4-859C-D0F72D6E3F79}" type="slidenum">
              <a:rPr lang="en-US" noProof="1" smtClean="0"/>
              <a:pPr/>
              <a:t>15</a:t>
            </a:fld>
            <a:endParaRPr lang="en-US" noProof="1"/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AEAF9AFE-1A1F-E11E-23E8-354706C99659}"/>
              </a:ext>
            </a:extLst>
          </p:cNvPr>
          <p:cNvSpPr/>
          <p:nvPr/>
        </p:nvSpPr>
        <p:spPr>
          <a:xfrm>
            <a:off x="0" y="1279305"/>
            <a:ext cx="10911419" cy="0"/>
          </a:xfrm>
          <a:prstGeom prst="line">
            <a:avLst/>
          </a:prstGeom>
          <a:ln w="38100" cap="flat">
            <a:solidFill>
              <a:srgbClr val="B4B4B4"/>
            </a:solidFill>
            <a:prstDash val="sysDash"/>
            <a:headEnd type="none" w="sm" len="sm"/>
            <a:tailEnd type="none" w="sm" len="sm"/>
          </a:ln>
        </p:spPr>
        <p:txBody>
          <a:bodyPr/>
          <a:lstStyle/>
          <a:p>
            <a:endParaRPr lang="en-US" sz="1200"/>
          </a:p>
        </p:txBody>
      </p:sp>
      <p:grpSp>
        <p:nvGrpSpPr>
          <p:cNvPr id="7" name="Group 5">
            <a:extLst>
              <a:ext uri="{FF2B5EF4-FFF2-40B4-BE49-F238E27FC236}">
                <a16:creationId xmlns:a16="http://schemas.microsoft.com/office/drawing/2014/main" id="{DF727EA2-C793-9CE6-BA9C-8624DE0A56DC}"/>
              </a:ext>
            </a:extLst>
          </p:cNvPr>
          <p:cNvGrpSpPr/>
          <p:nvPr/>
        </p:nvGrpSpPr>
        <p:grpSpPr>
          <a:xfrm>
            <a:off x="142442" y="2179835"/>
            <a:ext cx="1600200" cy="2836635"/>
            <a:chOff x="0" y="0"/>
            <a:chExt cx="632178" cy="1120646"/>
          </a:xfrm>
        </p:grpSpPr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4E60AA01-6993-44AB-3B93-7A969B6C831A}"/>
                </a:ext>
              </a:extLst>
            </p:cNvPr>
            <p:cNvSpPr/>
            <p:nvPr/>
          </p:nvSpPr>
          <p:spPr>
            <a:xfrm>
              <a:off x="0" y="0"/>
              <a:ext cx="632178" cy="1120646"/>
            </a:xfrm>
            <a:custGeom>
              <a:avLst/>
              <a:gdLst/>
              <a:ahLst/>
              <a:cxnLst/>
              <a:rect l="l" t="t" r="r" b="b"/>
              <a:pathLst>
                <a:path w="632178" h="1120646">
                  <a:moveTo>
                    <a:pt x="0" y="0"/>
                  </a:moveTo>
                  <a:lnTo>
                    <a:pt x="632178" y="0"/>
                  </a:lnTo>
                  <a:lnTo>
                    <a:pt x="632178" y="1120646"/>
                  </a:lnTo>
                  <a:lnTo>
                    <a:pt x="0" y="112064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9" name="TextBox 7">
              <a:extLst>
                <a:ext uri="{FF2B5EF4-FFF2-40B4-BE49-F238E27FC236}">
                  <a16:creationId xmlns:a16="http://schemas.microsoft.com/office/drawing/2014/main" id="{2FE79E3C-1BDA-B270-780D-4975CD955E5B}"/>
                </a:ext>
              </a:extLst>
            </p:cNvPr>
            <p:cNvSpPr txBox="1"/>
            <p:nvPr/>
          </p:nvSpPr>
          <p:spPr>
            <a:xfrm>
              <a:off x="0" y="-38100"/>
              <a:ext cx="632178" cy="1158746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1200"/>
            </a:p>
          </p:txBody>
        </p:sp>
      </p:grpSp>
      <p:sp>
        <p:nvSpPr>
          <p:cNvPr id="10" name="Freeform 8">
            <a:extLst>
              <a:ext uri="{FF2B5EF4-FFF2-40B4-BE49-F238E27FC236}">
                <a16:creationId xmlns:a16="http://schemas.microsoft.com/office/drawing/2014/main" id="{6401AE64-A94C-031F-7FC3-21DB8F38ADD7}"/>
              </a:ext>
            </a:extLst>
          </p:cNvPr>
          <p:cNvSpPr/>
          <p:nvPr/>
        </p:nvSpPr>
        <p:spPr>
          <a:xfrm>
            <a:off x="-152249" y="2178115"/>
            <a:ext cx="2189582" cy="262651"/>
          </a:xfrm>
          <a:custGeom>
            <a:avLst/>
            <a:gdLst/>
            <a:ahLst/>
            <a:cxnLst/>
            <a:rect l="l" t="t" r="r" b="b"/>
            <a:pathLst>
              <a:path w="3284373" h="393976">
                <a:moveTo>
                  <a:pt x="0" y="0"/>
                </a:moveTo>
                <a:lnTo>
                  <a:pt x="3284373" y="0"/>
                </a:lnTo>
                <a:lnTo>
                  <a:pt x="3284373" y="393977"/>
                </a:lnTo>
                <a:lnTo>
                  <a:pt x="0" y="393977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t="-118264"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11" name="Freeform 9">
            <a:extLst>
              <a:ext uri="{FF2B5EF4-FFF2-40B4-BE49-F238E27FC236}">
                <a16:creationId xmlns:a16="http://schemas.microsoft.com/office/drawing/2014/main" id="{6643622E-20BF-0C97-887C-F199BD34B3B9}"/>
              </a:ext>
            </a:extLst>
          </p:cNvPr>
          <p:cNvSpPr/>
          <p:nvPr/>
        </p:nvSpPr>
        <p:spPr>
          <a:xfrm>
            <a:off x="452375" y="1687948"/>
            <a:ext cx="1100433" cy="1098433"/>
          </a:xfrm>
          <a:custGeom>
            <a:avLst/>
            <a:gdLst/>
            <a:ahLst/>
            <a:cxnLst/>
            <a:rect l="l" t="t" r="r" b="b"/>
            <a:pathLst>
              <a:path w="1650650" h="1647649">
                <a:moveTo>
                  <a:pt x="0" y="0"/>
                </a:moveTo>
                <a:lnTo>
                  <a:pt x="1650650" y="0"/>
                </a:lnTo>
                <a:lnTo>
                  <a:pt x="1650650" y="1647649"/>
                </a:lnTo>
                <a:lnTo>
                  <a:pt x="0" y="1647649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grpSp>
        <p:nvGrpSpPr>
          <p:cNvPr id="12" name="Group 10">
            <a:extLst>
              <a:ext uri="{FF2B5EF4-FFF2-40B4-BE49-F238E27FC236}">
                <a16:creationId xmlns:a16="http://schemas.microsoft.com/office/drawing/2014/main" id="{B248D2DE-061C-BAB3-14EE-CEDF8C87064B}"/>
              </a:ext>
            </a:extLst>
          </p:cNvPr>
          <p:cNvGrpSpPr/>
          <p:nvPr/>
        </p:nvGrpSpPr>
        <p:grpSpPr>
          <a:xfrm>
            <a:off x="452374" y="1687947"/>
            <a:ext cx="980336" cy="980336"/>
            <a:chOff x="0" y="0"/>
            <a:chExt cx="812800" cy="812800"/>
          </a:xfrm>
        </p:grpSpPr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2DF98AB0-15BB-85BF-E6A5-99191D7AC5E8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619348" y="44673"/>
                  </a:moveTo>
                  <a:lnTo>
                    <a:pt x="768127" y="193452"/>
                  </a:lnTo>
                  <a:cubicBezTo>
                    <a:pt x="796730" y="222056"/>
                    <a:pt x="812800" y="260851"/>
                    <a:pt x="812800" y="301303"/>
                  </a:cubicBezTo>
                  <a:lnTo>
                    <a:pt x="812800" y="511497"/>
                  </a:lnTo>
                  <a:cubicBezTo>
                    <a:pt x="812800" y="551949"/>
                    <a:pt x="796730" y="590745"/>
                    <a:pt x="768127" y="619348"/>
                  </a:cubicBezTo>
                  <a:lnTo>
                    <a:pt x="619348" y="768127"/>
                  </a:lnTo>
                  <a:cubicBezTo>
                    <a:pt x="590745" y="796730"/>
                    <a:pt x="551949" y="812800"/>
                    <a:pt x="511497" y="812800"/>
                  </a:cubicBezTo>
                  <a:lnTo>
                    <a:pt x="301303" y="812800"/>
                  </a:lnTo>
                  <a:cubicBezTo>
                    <a:pt x="260851" y="812800"/>
                    <a:pt x="222056" y="796730"/>
                    <a:pt x="193452" y="768127"/>
                  </a:cubicBezTo>
                  <a:lnTo>
                    <a:pt x="44673" y="619348"/>
                  </a:lnTo>
                  <a:cubicBezTo>
                    <a:pt x="16069" y="590745"/>
                    <a:pt x="0" y="551949"/>
                    <a:pt x="0" y="511497"/>
                  </a:cubicBezTo>
                  <a:lnTo>
                    <a:pt x="0" y="301303"/>
                  </a:lnTo>
                  <a:cubicBezTo>
                    <a:pt x="0" y="260851"/>
                    <a:pt x="16069" y="222056"/>
                    <a:pt x="44673" y="193452"/>
                  </a:cubicBezTo>
                  <a:lnTo>
                    <a:pt x="193452" y="44673"/>
                  </a:lnTo>
                  <a:cubicBezTo>
                    <a:pt x="222056" y="16069"/>
                    <a:pt x="260851" y="0"/>
                    <a:pt x="301303" y="0"/>
                  </a:cubicBezTo>
                  <a:lnTo>
                    <a:pt x="511497" y="0"/>
                  </a:lnTo>
                  <a:cubicBezTo>
                    <a:pt x="551949" y="0"/>
                    <a:pt x="590745" y="16069"/>
                    <a:pt x="619348" y="44673"/>
                  </a:cubicBezTo>
                  <a:close/>
                </a:path>
              </a:pathLst>
            </a:custGeom>
            <a:solidFill>
              <a:srgbClr val="FFC400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14" name="TextBox 12">
              <a:extLst>
                <a:ext uri="{FF2B5EF4-FFF2-40B4-BE49-F238E27FC236}">
                  <a16:creationId xmlns:a16="http://schemas.microsoft.com/office/drawing/2014/main" id="{2369E71A-D3C9-C4A4-D9BD-07AE3660D454}"/>
                </a:ext>
              </a:extLst>
            </p:cNvPr>
            <p:cNvSpPr txBox="1"/>
            <p:nvPr/>
          </p:nvSpPr>
          <p:spPr>
            <a:xfrm>
              <a:off x="63500" y="25400"/>
              <a:ext cx="685800" cy="723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1200"/>
            </a:p>
          </p:txBody>
        </p:sp>
      </p:grpSp>
      <p:grpSp>
        <p:nvGrpSpPr>
          <p:cNvPr id="15" name="Group 13">
            <a:extLst>
              <a:ext uri="{FF2B5EF4-FFF2-40B4-BE49-F238E27FC236}">
                <a16:creationId xmlns:a16="http://schemas.microsoft.com/office/drawing/2014/main" id="{547A3008-F023-1C8A-A193-E7727FBE8ED9}"/>
              </a:ext>
            </a:extLst>
          </p:cNvPr>
          <p:cNvGrpSpPr/>
          <p:nvPr/>
        </p:nvGrpSpPr>
        <p:grpSpPr>
          <a:xfrm>
            <a:off x="790142" y="1104395"/>
            <a:ext cx="304800" cy="304800"/>
            <a:chOff x="0" y="0"/>
            <a:chExt cx="812800" cy="812800"/>
          </a:xfrm>
        </p:grpSpPr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993BE412-DADB-05D0-E3DD-D7792F21FA38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C400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17" name="TextBox 15">
              <a:extLst>
                <a:ext uri="{FF2B5EF4-FFF2-40B4-BE49-F238E27FC236}">
                  <a16:creationId xmlns:a16="http://schemas.microsoft.com/office/drawing/2014/main" id="{4130618B-28D8-AE75-E24A-345731D879FB}"/>
                </a:ext>
              </a:extLst>
            </p:cNvPr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1200"/>
            </a:p>
          </p:txBody>
        </p:sp>
      </p:grpSp>
      <p:sp>
        <p:nvSpPr>
          <p:cNvPr id="18" name="Freeform 16">
            <a:extLst>
              <a:ext uri="{FF2B5EF4-FFF2-40B4-BE49-F238E27FC236}">
                <a16:creationId xmlns:a16="http://schemas.microsoft.com/office/drawing/2014/main" id="{CB5A19C9-C263-8DA1-11DF-61FD78339D85}"/>
              </a:ext>
            </a:extLst>
          </p:cNvPr>
          <p:cNvSpPr/>
          <p:nvPr/>
        </p:nvSpPr>
        <p:spPr>
          <a:xfrm rot="10800000">
            <a:off x="-152249" y="4768919"/>
            <a:ext cx="2189582" cy="262651"/>
          </a:xfrm>
          <a:custGeom>
            <a:avLst/>
            <a:gdLst/>
            <a:ahLst/>
            <a:cxnLst/>
            <a:rect l="l" t="t" r="r" b="b"/>
            <a:pathLst>
              <a:path w="3284373" h="393976">
                <a:moveTo>
                  <a:pt x="0" y="0"/>
                </a:moveTo>
                <a:lnTo>
                  <a:pt x="3284373" y="0"/>
                </a:lnTo>
                <a:lnTo>
                  <a:pt x="3284373" y="393976"/>
                </a:lnTo>
                <a:lnTo>
                  <a:pt x="0" y="393976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t="-118264"/>
            </a:stretch>
          </a:blipFill>
        </p:spPr>
        <p:txBody>
          <a:bodyPr/>
          <a:lstStyle/>
          <a:p>
            <a:endParaRPr lang="en-US" sz="1200"/>
          </a:p>
        </p:txBody>
      </p:sp>
      <p:grpSp>
        <p:nvGrpSpPr>
          <p:cNvPr id="19" name="Group 17">
            <a:extLst>
              <a:ext uri="{FF2B5EF4-FFF2-40B4-BE49-F238E27FC236}">
                <a16:creationId xmlns:a16="http://schemas.microsoft.com/office/drawing/2014/main" id="{46FF5CE2-3416-E80C-0F9C-9CBDB8860D55}"/>
              </a:ext>
            </a:extLst>
          </p:cNvPr>
          <p:cNvGrpSpPr/>
          <p:nvPr/>
        </p:nvGrpSpPr>
        <p:grpSpPr>
          <a:xfrm>
            <a:off x="2421936" y="2179835"/>
            <a:ext cx="1600200" cy="2836635"/>
            <a:chOff x="0" y="0"/>
            <a:chExt cx="632178" cy="1120646"/>
          </a:xfrm>
        </p:grpSpPr>
        <p:sp>
          <p:nvSpPr>
            <p:cNvPr id="20" name="Freeform 18">
              <a:extLst>
                <a:ext uri="{FF2B5EF4-FFF2-40B4-BE49-F238E27FC236}">
                  <a16:creationId xmlns:a16="http://schemas.microsoft.com/office/drawing/2014/main" id="{7655863F-5778-2839-3A3A-6DB0820286D8}"/>
                </a:ext>
              </a:extLst>
            </p:cNvPr>
            <p:cNvSpPr/>
            <p:nvPr/>
          </p:nvSpPr>
          <p:spPr>
            <a:xfrm>
              <a:off x="0" y="0"/>
              <a:ext cx="632178" cy="1120646"/>
            </a:xfrm>
            <a:custGeom>
              <a:avLst/>
              <a:gdLst/>
              <a:ahLst/>
              <a:cxnLst/>
              <a:rect l="l" t="t" r="r" b="b"/>
              <a:pathLst>
                <a:path w="632178" h="1120646">
                  <a:moveTo>
                    <a:pt x="0" y="0"/>
                  </a:moveTo>
                  <a:lnTo>
                    <a:pt x="632178" y="0"/>
                  </a:lnTo>
                  <a:lnTo>
                    <a:pt x="632178" y="1120646"/>
                  </a:lnTo>
                  <a:lnTo>
                    <a:pt x="0" y="112064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21" name="TextBox 19">
              <a:extLst>
                <a:ext uri="{FF2B5EF4-FFF2-40B4-BE49-F238E27FC236}">
                  <a16:creationId xmlns:a16="http://schemas.microsoft.com/office/drawing/2014/main" id="{6F77BF4C-80C2-8906-4EDB-AA15518FB855}"/>
                </a:ext>
              </a:extLst>
            </p:cNvPr>
            <p:cNvSpPr txBox="1"/>
            <p:nvPr/>
          </p:nvSpPr>
          <p:spPr>
            <a:xfrm>
              <a:off x="0" y="-38100"/>
              <a:ext cx="632178" cy="1158746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1200"/>
            </a:p>
          </p:txBody>
        </p:sp>
      </p:grpSp>
      <p:sp>
        <p:nvSpPr>
          <p:cNvPr id="22" name="Freeform 20">
            <a:extLst>
              <a:ext uri="{FF2B5EF4-FFF2-40B4-BE49-F238E27FC236}">
                <a16:creationId xmlns:a16="http://schemas.microsoft.com/office/drawing/2014/main" id="{057F5836-E081-63B9-9E6D-CF21711AC009}"/>
              </a:ext>
            </a:extLst>
          </p:cNvPr>
          <p:cNvSpPr/>
          <p:nvPr/>
        </p:nvSpPr>
        <p:spPr>
          <a:xfrm>
            <a:off x="2127245" y="2178115"/>
            <a:ext cx="2189582" cy="262651"/>
          </a:xfrm>
          <a:custGeom>
            <a:avLst/>
            <a:gdLst/>
            <a:ahLst/>
            <a:cxnLst/>
            <a:rect l="l" t="t" r="r" b="b"/>
            <a:pathLst>
              <a:path w="3284373" h="393976">
                <a:moveTo>
                  <a:pt x="0" y="0"/>
                </a:moveTo>
                <a:lnTo>
                  <a:pt x="3284373" y="0"/>
                </a:lnTo>
                <a:lnTo>
                  <a:pt x="3284373" y="393977"/>
                </a:lnTo>
                <a:lnTo>
                  <a:pt x="0" y="393977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t="-118264"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23" name="Freeform 21">
            <a:extLst>
              <a:ext uri="{FF2B5EF4-FFF2-40B4-BE49-F238E27FC236}">
                <a16:creationId xmlns:a16="http://schemas.microsoft.com/office/drawing/2014/main" id="{F7657001-62BA-D643-65BF-50C7DD0D46F3}"/>
              </a:ext>
            </a:extLst>
          </p:cNvPr>
          <p:cNvSpPr/>
          <p:nvPr/>
        </p:nvSpPr>
        <p:spPr>
          <a:xfrm>
            <a:off x="2731869" y="1687948"/>
            <a:ext cx="1100433" cy="1098433"/>
          </a:xfrm>
          <a:custGeom>
            <a:avLst/>
            <a:gdLst/>
            <a:ahLst/>
            <a:cxnLst/>
            <a:rect l="l" t="t" r="r" b="b"/>
            <a:pathLst>
              <a:path w="1650650" h="1647649">
                <a:moveTo>
                  <a:pt x="0" y="0"/>
                </a:moveTo>
                <a:lnTo>
                  <a:pt x="1650650" y="0"/>
                </a:lnTo>
                <a:lnTo>
                  <a:pt x="1650650" y="1647649"/>
                </a:lnTo>
                <a:lnTo>
                  <a:pt x="0" y="1647649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grpSp>
        <p:nvGrpSpPr>
          <p:cNvPr id="24" name="Group 22">
            <a:extLst>
              <a:ext uri="{FF2B5EF4-FFF2-40B4-BE49-F238E27FC236}">
                <a16:creationId xmlns:a16="http://schemas.microsoft.com/office/drawing/2014/main" id="{9D2F138F-A4F3-0944-8A81-437F85A00145}"/>
              </a:ext>
            </a:extLst>
          </p:cNvPr>
          <p:cNvGrpSpPr/>
          <p:nvPr/>
        </p:nvGrpSpPr>
        <p:grpSpPr>
          <a:xfrm>
            <a:off x="2731868" y="1687947"/>
            <a:ext cx="980336" cy="980336"/>
            <a:chOff x="0" y="0"/>
            <a:chExt cx="812800" cy="812800"/>
          </a:xfrm>
        </p:grpSpPr>
        <p:sp>
          <p:nvSpPr>
            <p:cNvPr id="25" name="Freeform 23">
              <a:extLst>
                <a:ext uri="{FF2B5EF4-FFF2-40B4-BE49-F238E27FC236}">
                  <a16:creationId xmlns:a16="http://schemas.microsoft.com/office/drawing/2014/main" id="{E12CB778-AAE3-FBAC-E395-4156280063CF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619348" y="44673"/>
                  </a:moveTo>
                  <a:lnTo>
                    <a:pt x="768127" y="193452"/>
                  </a:lnTo>
                  <a:cubicBezTo>
                    <a:pt x="796730" y="222056"/>
                    <a:pt x="812800" y="260851"/>
                    <a:pt x="812800" y="301303"/>
                  </a:cubicBezTo>
                  <a:lnTo>
                    <a:pt x="812800" y="511497"/>
                  </a:lnTo>
                  <a:cubicBezTo>
                    <a:pt x="812800" y="551949"/>
                    <a:pt x="796730" y="590745"/>
                    <a:pt x="768127" y="619348"/>
                  </a:cubicBezTo>
                  <a:lnTo>
                    <a:pt x="619348" y="768127"/>
                  </a:lnTo>
                  <a:cubicBezTo>
                    <a:pt x="590745" y="796730"/>
                    <a:pt x="551949" y="812800"/>
                    <a:pt x="511497" y="812800"/>
                  </a:cubicBezTo>
                  <a:lnTo>
                    <a:pt x="301303" y="812800"/>
                  </a:lnTo>
                  <a:cubicBezTo>
                    <a:pt x="260851" y="812800"/>
                    <a:pt x="222056" y="796730"/>
                    <a:pt x="193452" y="768127"/>
                  </a:cubicBezTo>
                  <a:lnTo>
                    <a:pt x="44673" y="619348"/>
                  </a:lnTo>
                  <a:cubicBezTo>
                    <a:pt x="16069" y="590745"/>
                    <a:pt x="0" y="551949"/>
                    <a:pt x="0" y="511497"/>
                  </a:cubicBezTo>
                  <a:lnTo>
                    <a:pt x="0" y="301303"/>
                  </a:lnTo>
                  <a:cubicBezTo>
                    <a:pt x="0" y="260851"/>
                    <a:pt x="16069" y="222056"/>
                    <a:pt x="44673" y="193452"/>
                  </a:cubicBezTo>
                  <a:lnTo>
                    <a:pt x="193452" y="44673"/>
                  </a:lnTo>
                  <a:cubicBezTo>
                    <a:pt x="222056" y="16069"/>
                    <a:pt x="260851" y="0"/>
                    <a:pt x="301303" y="0"/>
                  </a:cubicBezTo>
                  <a:lnTo>
                    <a:pt x="511497" y="0"/>
                  </a:lnTo>
                  <a:cubicBezTo>
                    <a:pt x="551949" y="0"/>
                    <a:pt x="590745" y="16069"/>
                    <a:pt x="619348" y="44673"/>
                  </a:cubicBezTo>
                  <a:close/>
                </a:path>
              </a:pathLst>
            </a:custGeom>
            <a:solidFill>
              <a:srgbClr val="A2D34F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26" name="TextBox 24">
              <a:extLst>
                <a:ext uri="{FF2B5EF4-FFF2-40B4-BE49-F238E27FC236}">
                  <a16:creationId xmlns:a16="http://schemas.microsoft.com/office/drawing/2014/main" id="{AD90BF1F-63C1-A09A-00D5-6C0484492C9A}"/>
                </a:ext>
              </a:extLst>
            </p:cNvPr>
            <p:cNvSpPr txBox="1"/>
            <p:nvPr/>
          </p:nvSpPr>
          <p:spPr>
            <a:xfrm>
              <a:off x="63500" y="25400"/>
              <a:ext cx="685800" cy="723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1200"/>
            </a:p>
          </p:txBody>
        </p:sp>
      </p:grpSp>
      <p:grpSp>
        <p:nvGrpSpPr>
          <p:cNvPr id="27" name="Group 25">
            <a:extLst>
              <a:ext uri="{FF2B5EF4-FFF2-40B4-BE49-F238E27FC236}">
                <a16:creationId xmlns:a16="http://schemas.microsoft.com/office/drawing/2014/main" id="{7E63238E-945D-2233-9CDE-4BD218E1EF34}"/>
              </a:ext>
            </a:extLst>
          </p:cNvPr>
          <p:cNvGrpSpPr/>
          <p:nvPr/>
        </p:nvGrpSpPr>
        <p:grpSpPr>
          <a:xfrm>
            <a:off x="3069636" y="1104395"/>
            <a:ext cx="304800" cy="304800"/>
            <a:chOff x="0" y="0"/>
            <a:chExt cx="812800" cy="812800"/>
          </a:xfrm>
        </p:grpSpPr>
        <p:sp>
          <p:nvSpPr>
            <p:cNvPr id="28" name="Freeform 26">
              <a:extLst>
                <a:ext uri="{FF2B5EF4-FFF2-40B4-BE49-F238E27FC236}">
                  <a16:creationId xmlns:a16="http://schemas.microsoft.com/office/drawing/2014/main" id="{393B6BAA-21FD-D4D5-9ABB-5459AAF96043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2D34F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29" name="TextBox 27">
              <a:extLst>
                <a:ext uri="{FF2B5EF4-FFF2-40B4-BE49-F238E27FC236}">
                  <a16:creationId xmlns:a16="http://schemas.microsoft.com/office/drawing/2014/main" id="{DDC091B3-305B-FD9B-3CC5-EDB81FACBD94}"/>
                </a:ext>
              </a:extLst>
            </p:cNvPr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1200"/>
            </a:p>
          </p:txBody>
        </p:sp>
      </p:grpSp>
      <p:sp>
        <p:nvSpPr>
          <p:cNvPr id="30" name="Freeform 28">
            <a:extLst>
              <a:ext uri="{FF2B5EF4-FFF2-40B4-BE49-F238E27FC236}">
                <a16:creationId xmlns:a16="http://schemas.microsoft.com/office/drawing/2014/main" id="{FC1697F4-1047-1529-A70A-50214C46B7F8}"/>
              </a:ext>
            </a:extLst>
          </p:cNvPr>
          <p:cNvSpPr/>
          <p:nvPr/>
        </p:nvSpPr>
        <p:spPr>
          <a:xfrm rot="10800000">
            <a:off x="2127245" y="4768919"/>
            <a:ext cx="2189582" cy="262651"/>
          </a:xfrm>
          <a:custGeom>
            <a:avLst/>
            <a:gdLst/>
            <a:ahLst/>
            <a:cxnLst/>
            <a:rect l="l" t="t" r="r" b="b"/>
            <a:pathLst>
              <a:path w="3284373" h="393976">
                <a:moveTo>
                  <a:pt x="0" y="0"/>
                </a:moveTo>
                <a:lnTo>
                  <a:pt x="3284373" y="0"/>
                </a:lnTo>
                <a:lnTo>
                  <a:pt x="3284373" y="393976"/>
                </a:lnTo>
                <a:lnTo>
                  <a:pt x="0" y="393976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t="-118264"/>
            </a:stretch>
          </a:blipFill>
        </p:spPr>
        <p:txBody>
          <a:bodyPr/>
          <a:lstStyle/>
          <a:p>
            <a:endParaRPr lang="en-US" sz="1200"/>
          </a:p>
        </p:txBody>
      </p:sp>
      <p:grpSp>
        <p:nvGrpSpPr>
          <p:cNvPr id="31" name="Group 29">
            <a:extLst>
              <a:ext uri="{FF2B5EF4-FFF2-40B4-BE49-F238E27FC236}">
                <a16:creationId xmlns:a16="http://schemas.microsoft.com/office/drawing/2014/main" id="{ECF77736-FBA9-F85E-B156-5A389DF4849F}"/>
              </a:ext>
            </a:extLst>
          </p:cNvPr>
          <p:cNvGrpSpPr/>
          <p:nvPr/>
        </p:nvGrpSpPr>
        <p:grpSpPr>
          <a:xfrm>
            <a:off x="4701430" y="2179835"/>
            <a:ext cx="1600200" cy="2836635"/>
            <a:chOff x="0" y="0"/>
            <a:chExt cx="632178" cy="1120646"/>
          </a:xfrm>
        </p:grpSpPr>
        <p:sp>
          <p:nvSpPr>
            <p:cNvPr id="32" name="Freeform 30">
              <a:extLst>
                <a:ext uri="{FF2B5EF4-FFF2-40B4-BE49-F238E27FC236}">
                  <a16:creationId xmlns:a16="http://schemas.microsoft.com/office/drawing/2014/main" id="{54AA9D93-F0E6-A2F5-33F5-8E08249E3B3D}"/>
                </a:ext>
              </a:extLst>
            </p:cNvPr>
            <p:cNvSpPr/>
            <p:nvPr/>
          </p:nvSpPr>
          <p:spPr>
            <a:xfrm>
              <a:off x="0" y="0"/>
              <a:ext cx="632178" cy="1120646"/>
            </a:xfrm>
            <a:custGeom>
              <a:avLst/>
              <a:gdLst/>
              <a:ahLst/>
              <a:cxnLst/>
              <a:rect l="l" t="t" r="r" b="b"/>
              <a:pathLst>
                <a:path w="632178" h="1120646">
                  <a:moveTo>
                    <a:pt x="0" y="0"/>
                  </a:moveTo>
                  <a:lnTo>
                    <a:pt x="632178" y="0"/>
                  </a:lnTo>
                  <a:lnTo>
                    <a:pt x="632178" y="1120646"/>
                  </a:lnTo>
                  <a:lnTo>
                    <a:pt x="0" y="112064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33" name="TextBox 31">
              <a:extLst>
                <a:ext uri="{FF2B5EF4-FFF2-40B4-BE49-F238E27FC236}">
                  <a16:creationId xmlns:a16="http://schemas.microsoft.com/office/drawing/2014/main" id="{3D3B4688-8B6A-42D3-63A2-902D03CAF6ED}"/>
                </a:ext>
              </a:extLst>
            </p:cNvPr>
            <p:cNvSpPr txBox="1"/>
            <p:nvPr/>
          </p:nvSpPr>
          <p:spPr>
            <a:xfrm>
              <a:off x="0" y="-38100"/>
              <a:ext cx="632178" cy="1158746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1200"/>
            </a:p>
          </p:txBody>
        </p:sp>
      </p:grpSp>
      <p:sp>
        <p:nvSpPr>
          <p:cNvPr id="34" name="Freeform 32">
            <a:extLst>
              <a:ext uri="{FF2B5EF4-FFF2-40B4-BE49-F238E27FC236}">
                <a16:creationId xmlns:a16="http://schemas.microsoft.com/office/drawing/2014/main" id="{9A579116-1D75-F4DA-F7FE-3B12AFB0098E}"/>
              </a:ext>
            </a:extLst>
          </p:cNvPr>
          <p:cNvSpPr/>
          <p:nvPr/>
        </p:nvSpPr>
        <p:spPr>
          <a:xfrm>
            <a:off x="4406740" y="2178115"/>
            <a:ext cx="2189582" cy="262651"/>
          </a:xfrm>
          <a:custGeom>
            <a:avLst/>
            <a:gdLst/>
            <a:ahLst/>
            <a:cxnLst/>
            <a:rect l="l" t="t" r="r" b="b"/>
            <a:pathLst>
              <a:path w="3284373" h="393976">
                <a:moveTo>
                  <a:pt x="0" y="0"/>
                </a:moveTo>
                <a:lnTo>
                  <a:pt x="3284373" y="0"/>
                </a:lnTo>
                <a:lnTo>
                  <a:pt x="3284373" y="393977"/>
                </a:lnTo>
                <a:lnTo>
                  <a:pt x="0" y="393977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t="-118264"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35" name="Freeform 33">
            <a:extLst>
              <a:ext uri="{FF2B5EF4-FFF2-40B4-BE49-F238E27FC236}">
                <a16:creationId xmlns:a16="http://schemas.microsoft.com/office/drawing/2014/main" id="{72587403-8F3E-24B0-B213-5DC8E5CB5DA2}"/>
              </a:ext>
            </a:extLst>
          </p:cNvPr>
          <p:cNvSpPr/>
          <p:nvPr/>
        </p:nvSpPr>
        <p:spPr>
          <a:xfrm>
            <a:off x="5011363" y="1687948"/>
            <a:ext cx="1100433" cy="1098433"/>
          </a:xfrm>
          <a:custGeom>
            <a:avLst/>
            <a:gdLst/>
            <a:ahLst/>
            <a:cxnLst/>
            <a:rect l="l" t="t" r="r" b="b"/>
            <a:pathLst>
              <a:path w="1650650" h="1647649">
                <a:moveTo>
                  <a:pt x="0" y="0"/>
                </a:moveTo>
                <a:lnTo>
                  <a:pt x="1650650" y="0"/>
                </a:lnTo>
                <a:lnTo>
                  <a:pt x="1650650" y="1647649"/>
                </a:lnTo>
                <a:lnTo>
                  <a:pt x="0" y="1647649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grpSp>
        <p:nvGrpSpPr>
          <p:cNvPr id="36" name="Group 34">
            <a:extLst>
              <a:ext uri="{FF2B5EF4-FFF2-40B4-BE49-F238E27FC236}">
                <a16:creationId xmlns:a16="http://schemas.microsoft.com/office/drawing/2014/main" id="{1E956758-2E41-2305-653A-15628F79410E}"/>
              </a:ext>
            </a:extLst>
          </p:cNvPr>
          <p:cNvGrpSpPr/>
          <p:nvPr/>
        </p:nvGrpSpPr>
        <p:grpSpPr>
          <a:xfrm>
            <a:off x="5011362" y="1687947"/>
            <a:ext cx="980336" cy="980336"/>
            <a:chOff x="0" y="0"/>
            <a:chExt cx="812800" cy="812800"/>
          </a:xfrm>
        </p:grpSpPr>
        <p:sp>
          <p:nvSpPr>
            <p:cNvPr id="37" name="Freeform 35">
              <a:extLst>
                <a:ext uri="{FF2B5EF4-FFF2-40B4-BE49-F238E27FC236}">
                  <a16:creationId xmlns:a16="http://schemas.microsoft.com/office/drawing/2014/main" id="{009C3272-2D57-66E9-0568-2C4C247070A7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619348" y="44673"/>
                  </a:moveTo>
                  <a:lnTo>
                    <a:pt x="768127" y="193452"/>
                  </a:lnTo>
                  <a:cubicBezTo>
                    <a:pt x="796730" y="222056"/>
                    <a:pt x="812800" y="260851"/>
                    <a:pt x="812800" y="301303"/>
                  </a:cubicBezTo>
                  <a:lnTo>
                    <a:pt x="812800" y="511497"/>
                  </a:lnTo>
                  <a:cubicBezTo>
                    <a:pt x="812800" y="551949"/>
                    <a:pt x="796730" y="590745"/>
                    <a:pt x="768127" y="619348"/>
                  </a:cubicBezTo>
                  <a:lnTo>
                    <a:pt x="619348" y="768127"/>
                  </a:lnTo>
                  <a:cubicBezTo>
                    <a:pt x="590745" y="796730"/>
                    <a:pt x="551949" y="812800"/>
                    <a:pt x="511497" y="812800"/>
                  </a:cubicBezTo>
                  <a:lnTo>
                    <a:pt x="301303" y="812800"/>
                  </a:lnTo>
                  <a:cubicBezTo>
                    <a:pt x="260851" y="812800"/>
                    <a:pt x="222056" y="796730"/>
                    <a:pt x="193452" y="768127"/>
                  </a:cubicBezTo>
                  <a:lnTo>
                    <a:pt x="44673" y="619348"/>
                  </a:lnTo>
                  <a:cubicBezTo>
                    <a:pt x="16069" y="590745"/>
                    <a:pt x="0" y="551949"/>
                    <a:pt x="0" y="511497"/>
                  </a:cubicBezTo>
                  <a:lnTo>
                    <a:pt x="0" y="301303"/>
                  </a:lnTo>
                  <a:cubicBezTo>
                    <a:pt x="0" y="260851"/>
                    <a:pt x="16069" y="222056"/>
                    <a:pt x="44673" y="193452"/>
                  </a:cubicBezTo>
                  <a:lnTo>
                    <a:pt x="193452" y="44673"/>
                  </a:lnTo>
                  <a:cubicBezTo>
                    <a:pt x="222056" y="16069"/>
                    <a:pt x="260851" y="0"/>
                    <a:pt x="301303" y="0"/>
                  </a:cubicBezTo>
                  <a:lnTo>
                    <a:pt x="511497" y="0"/>
                  </a:lnTo>
                  <a:cubicBezTo>
                    <a:pt x="551949" y="0"/>
                    <a:pt x="590745" y="16069"/>
                    <a:pt x="619348" y="44673"/>
                  </a:cubicBezTo>
                  <a:close/>
                </a:path>
              </a:pathLst>
            </a:custGeom>
            <a:solidFill>
              <a:srgbClr val="00D19D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38" name="TextBox 36">
              <a:extLst>
                <a:ext uri="{FF2B5EF4-FFF2-40B4-BE49-F238E27FC236}">
                  <a16:creationId xmlns:a16="http://schemas.microsoft.com/office/drawing/2014/main" id="{1D03F399-385F-1372-A2FF-5CDD81F03F81}"/>
                </a:ext>
              </a:extLst>
            </p:cNvPr>
            <p:cNvSpPr txBox="1"/>
            <p:nvPr/>
          </p:nvSpPr>
          <p:spPr>
            <a:xfrm>
              <a:off x="63500" y="25400"/>
              <a:ext cx="685800" cy="723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1200"/>
            </a:p>
          </p:txBody>
        </p:sp>
      </p:grpSp>
      <p:grpSp>
        <p:nvGrpSpPr>
          <p:cNvPr id="39" name="Group 37">
            <a:extLst>
              <a:ext uri="{FF2B5EF4-FFF2-40B4-BE49-F238E27FC236}">
                <a16:creationId xmlns:a16="http://schemas.microsoft.com/office/drawing/2014/main" id="{261C0357-EAC5-B374-C7FB-AAA3B3272F85}"/>
              </a:ext>
            </a:extLst>
          </p:cNvPr>
          <p:cNvGrpSpPr/>
          <p:nvPr/>
        </p:nvGrpSpPr>
        <p:grpSpPr>
          <a:xfrm>
            <a:off x="5349130" y="1104395"/>
            <a:ext cx="304800" cy="304800"/>
            <a:chOff x="0" y="0"/>
            <a:chExt cx="812800" cy="812800"/>
          </a:xfrm>
        </p:grpSpPr>
        <p:sp>
          <p:nvSpPr>
            <p:cNvPr id="40" name="Freeform 38">
              <a:extLst>
                <a:ext uri="{FF2B5EF4-FFF2-40B4-BE49-F238E27FC236}">
                  <a16:creationId xmlns:a16="http://schemas.microsoft.com/office/drawing/2014/main" id="{FD39E1D6-59BB-C3E8-53C9-A89EC2770670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D19D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41" name="TextBox 39">
              <a:extLst>
                <a:ext uri="{FF2B5EF4-FFF2-40B4-BE49-F238E27FC236}">
                  <a16:creationId xmlns:a16="http://schemas.microsoft.com/office/drawing/2014/main" id="{4D67A6B7-A3A9-786D-73AF-1D9AE9CA2541}"/>
                </a:ext>
              </a:extLst>
            </p:cNvPr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1200"/>
            </a:p>
          </p:txBody>
        </p:sp>
      </p:grpSp>
      <p:sp>
        <p:nvSpPr>
          <p:cNvPr id="42" name="Freeform 40">
            <a:extLst>
              <a:ext uri="{FF2B5EF4-FFF2-40B4-BE49-F238E27FC236}">
                <a16:creationId xmlns:a16="http://schemas.microsoft.com/office/drawing/2014/main" id="{1C1DC9D2-BE54-B326-CD9B-EEC9F52F0D82}"/>
              </a:ext>
            </a:extLst>
          </p:cNvPr>
          <p:cNvSpPr/>
          <p:nvPr/>
        </p:nvSpPr>
        <p:spPr>
          <a:xfrm rot="10800000">
            <a:off x="4406740" y="4768919"/>
            <a:ext cx="2189582" cy="262651"/>
          </a:xfrm>
          <a:custGeom>
            <a:avLst/>
            <a:gdLst/>
            <a:ahLst/>
            <a:cxnLst/>
            <a:rect l="l" t="t" r="r" b="b"/>
            <a:pathLst>
              <a:path w="3284373" h="393976">
                <a:moveTo>
                  <a:pt x="0" y="0"/>
                </a:moveTo>
                <a:lnTo>
                  <a:pt x="3284373" y="0"/>
                </a:lnTo>
                <a:lnTo>
                  <a:pt x="3284373" y="393976"/>
                </a:lnTo>
                <a:lnTo>
                  <a:pt x="0" y="393976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t="-118264"/>
            </a:stretch>
          </a:blipFill>
        </p:spPr>
        <p:txBody>
          <a:bodyPr/>
          <a:lstStyle/>
          <a:p>
            <a:endParaRPr lang="en-US" sz="1200"/>
          </a:p>
        </p:txBody>
      </p:sp>
      <p:grpSp>
        <p:nvGrpSpPr>
          <p:cNvPr id="43" name="Group 41">
            <a:extLst>
              <a:ext uri="{FF2B5EF4-FFF2-40B4-BE49-F238E27FC236}">
                <a16:creationId xmlns:a16="http://schemas.microsoft.com/office/drawing/2014/main" id="{FA0C389C-AF6B-7E8A-24FC-2FA7B72A1871}"/>
              </a:ext>
            </a:extLst>
          </p:cNvPr>
          <p:cNvGrpSpPr/>
          <p:nvPr/>
        </p:nvGrpSpPr>
        <p:grpSpPr>
          <a:xfrm>
            <a:off x="6980925" y="2179835"/>
            <a:ext cx="1600200" cy="2836635"/>
            <a:chOff x="0" y="0"/>
            <a:chExt cx="632178" cy="1120646"/>
          </a:xfrm>
        </p:grpSpPr>
        <p:sp>
          <p:nvSpPr>
            <p:cNvPr id="44" name="Freeform 42">
              <a:extLst>
                <a:ext uri="{FF2B5EF4-FFF2-40B4-BE49-F238E27FC236}">
                  <a16:creationId xmlns:a16="http://schemas.microsoft.com/office/drawing/2014/main" id="{83C51AF0-5540-20CA-E3BF-83A2C6249D4B}"/>
                </a:ext>
              </a:extLst>
            </p:cNvPr>
            <p:cNvSpPr/>
            <p:nvPr/>
          </p:nvSpPr>
          <p:spPr>
            <a:xfrm>
              <a:off x="0" y="0"/>
              <a:ext cx="632178" cy="1120646"/>
            </a:xfrm>
            <a:custGeom>
              <a:avLst/>
              <a:gdLst/>
              <a:ahLst/>
              <a:cxnLst/>
              <a:rect l="l" t="t" r="r" b="b"/>
              <a:pathLst>
                <a:path w="632178" h="1120646">
                  <a:moveTo>
                    <a:pt x="0" y="0"/>
                  </a:moveTo>
                  <a:lnTo>
                    <a:pt x="632178" y="0"/>
                  </a:lnTo>
                  <a:lnTo>
                    <a:pt x="632178" y="1120646"/>
                  </a:lnTo>
                  <a:lnTo>
                    <a:pt x="0" y="112064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45" name="TextBox 43">
              <a:extLst>
                <a:ext uri="{FF2B5EF4-FFF2-40B4-BE49-F238E27FC236}">
                  <a16:creationId xmlns:a16="http://schemas.microsoft.com/office/drawing/2014/main" id="{23F2617C-4A63-A533-EA3C-0C6D19BAF70F}"/>
                </a:ext>
              </a:extLst>
            </p:cNvPr>
            <p:cNvSpPr txBox="1"/>
            <p:nvPr/>
          </p:nvSpPr>
          <p:spPr>
            <a:xfrm>
              <a:off x="0" y="-38100"/>
              <a:ext cx="632178" cy="1158746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1200"/>
            </a:p>
          </p:txBody>
        </p:sp>
      </p:grpSp>
      <p:sp>
        <p:nvSpPr>
          <p:cNvPr id="46" name="Freeform 44">
            <a:extLst>
              <a:ext uri="{FF2B5EF4-FFF2-40B4-BE49-F238E27FC236}">
                <a16:creationId xmlns:a16="http://schemas.microsoft.com/office/drawing/2014/main" id="{CC1B9E67-D8F2-949C-AEB9-3AB4794D3B40}"/>
              </a:ext>
            </a:extLst>
          </p:cNvPr>
          <p:cNvSpPr/>
          <p:nvPr/>
        </p:nvSpPr>
        <p:spPr>
          <a:xfrm>
            <a:off x="6686234" y="2178115"/>
            <a:ext cx="2189582" cy="262651"/>
          </a:xfrm>
          <a:custGeom>
            <a:avLst/>
            <a:gdLst/>
            <a:ahLst/>
            <a:cxnLst/>
            <a:rect l="l" t="t" r="r" b="b"/>
            <a:pathLst>
              <a:path w="3284373" h="393976">
                <a:moveTo>
                  <a:pt x="0" y="0"/>
                </a:moveTo>
                <a:lnTo>
                  <a:pt x="3284373" y="0"/>
                </a:lnTo>
                <a:lnTo>
                  <a:pt x="3284373" y="393977"/>
                </a:lnTo>
                <a:lnTo>
                  <a:pt x="0" y="393977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t="-118264"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47" name="Freeform 45">
            <a:extLst>
              <a:ext uri="{FF2B5EF4-FFF2-40B4-BE49-F238E27FC236}">
                <a16:creationId xmlns:a16="http://schemas.microsoft.com/office/drawing/2014/main" id="{F95BE590-C214-EBDB-CD6B-5DA3CDE5D5EF}"/>
              </a:ext>
            </a:extLst>
          </p:cNvPr>
          <p:cNvSpPr/>
          <p:nvPr/>
        </p:nvSpPr>
        <p:spPr>
          <a:xfrm>
            <a:off x="7290857" y="1687948"/>
            <a:ext cx="1100433" cy="1098433"/>
          </a:xfrm>
          <a:custGeom>
            <a:avLst/>
            <a:gdLst/>
            <a:ahLst/>
            <a:cxnLst/>
            <a:rect l="l" t="t" r="r" b="b"/>
            <a:pathLst>
              <a:path w="1650650" h="1647649">
                <a:moveTo>
                  <a:pt x="0" y="0"/>
                </a:moveTo>
                <a:lnTo>
                  <a:pt x="1650650" y="0"/>
                </a:lnTo>
                <a:lnTo>
                  <a:pt x="1650650" y="1647649"/>
                </a:lnTo>
                <a:lnTo>
                  <a:pt x="0" y="1647649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grpSp>
        <p:nvGrpSpPr>
          <p:cNvPr id="48" name="Group 46">
            <a:extLst>
              <a:ext uri="{FF2B5EF4-FFF2-40B4-BE49-F238E27FC236}">
                <a16:creationId xmlns:a16="http://schemas.microsoft.com/office/drawing/2014/main" id="{631A25F3-2109-98F6-B5FE-E4A4F8DF730B}"/>
              </a:ext>
            </a:extLst>
          </p:cNvPr>
          <p:cNvGrpSpPr/>
          <p:nvPr/>
        </p:nvGrpSpPr>
        <p:grpSpPr>
          <a:xfrm>
            <a:off x="7290857" y="1687947"/>
            <a:ext cx="980336" cy="980336"/>
            <a:chOff x="0" y="0"/>
            <a:chExt cx="812800" cy="812800"/>
          </a:xfrm>
        </p:grpSpPr>
        <p:sp>
          <p:nvSpPr>
            <p:cNvPr id="49" name="Freeform 47">
              <a:extLst>
                <a:ext uri="{FF2B5EF4-FFF2-40B4-BE49-F238E27FC236}">
                  <a16:creationId xmlns:a16="http://schemas.microsoft.com/office/drawing/2014/main" id="{21D83209-C1CB-7FDD-2492-8498AFAC0AEC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619348" y="44673"/>
                  </a:moveTo>
                  <a:lnTo>
                    <a:pt x="768127" y="193452"/>
                  </a:lnTo>
                  <a:cubicBezTo>
                    <a:pt x="796730" y="222056"/>
                    <a:pt x="812800" y="260851"/>
                    <a:pt x="812800" y="301303"/>
                  </a:cubicBezTo>
                  <a:lnTo>
                    <a:pt x="812800" y="511497"/>
                  </a:lnTo>
                  <a:cubicBezTo>
                    <a:pt x="812800" y="551949"/>
                    <a:pt x="796730" y="590745"/>
                    <a:pt x="768127" y="619348"/>
                  </a:cubicBezTo>
                  <a:lnTo>
                    <a:pt x="619348" y="768127"/>
                  </a:lnTo>
                  <a:cubicBezTo>
                    <a:pt x="590745" y="796730"/>
                    <a:pt x="551949" y="812800"/>
                    <a:pt x="511497" y="812800"/>
                  </a:cubicBezTo>
                  <a:lnTo>
                    <a:pt x="301303" y="812800"/>
                  </a:lnTo>
                  <a:cubicBezTo>
                    <a:pt x="260851" y="812800"/>
                    <a:pt x="222056" y="796730"/>
                    <a:pt x="193452" y="768127"/>
                  </a:cubicBezTo>
                  <a:lnTo>
                    <a:pt x="44673" y="619348"/>
                  </a:lnTo>
                  <a:cubicBezTo>
                    <a:pt x="16069" y="590745"/>
                    <a:pt x="0" y="551949"/>
                    <a:pt x="0" y="511497"/>
                  </a:cubicBezTo>
                  <a:lnTo>
                    <a:pt x="0" y="301303"/>
                  </a:lnTo>
                  <a:cubicBezTo>
                    <a:pt x="0" y="260851"/>
                    <a:pt x="16069" y="222056"/>
                    <a:pt x="44673" y="193452"/>
                  </a:cubicBezTo>
                  <a:lnTo>
                    <a:pt x="193452" y="44673"/>
                  </a:lnTo>
                  <a:cubicBezTo>
                    <a:pt x="222056" y="16069"/>
                    <a:pt x="260851" y="0"/>
                    <a:pt x="301303" y="0"/>
                  </a:cubicBezTo>
                  <a:lnTo>
                    <a:pt x="511497" y="0"/>
                  </a:lnTo>
                  <a:cubicBezTo>
                    <a:pt x="551949" y="0"/>
                    <a:pt x="590745" y="16069"/>
                    <a:pt x="619348" y="44673"/>
                  </a:cubicBezTo>
                  <a:close/>
                </a:path>
              </a:pathLst>
            </a:custGeom>
            <a:solidFill>
              <a:srgbClr val="00BBD2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50" name="TextBox 48">
              <a:extLst>
                <a:ext uri="{FF2B5EF4-FFF2-40B4-BE49-F238E27FC236}">
                  <a16:creationId xmlns:a16="http://schemas.microsoft.com/office/drawing/2014/main" id="{9A712697-376E-446F-C7C5-CA551D16A07E}"/>
                </a:ext>
              </a:extLst>
            </p:cNvPr>
            <p:cNvSpPr txBox="1"/>
            <p:nvPr/>
          </p:nvSpPr>
          <p:spPr>
            <a:xfrm>
              <a:off x="63500" y="25400"/>
              <a:ext cx="685800" cy="723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1200"/>
            </a:p>
          </p:txBody>
        </p:sp>
      </p:grpSp>
      <p:grpSp>
        <p:nvGrpSpPr>
          <p:cNvPr id="51" name="Group 49">
            <a:extLst>
              <a:ext uri="{FF2B5EF4-FFF2-40B4-BE49-F238E27FC236}">
                <a16:creationId xmlns:a16="http://schemas.microsoft.com/office/drawing/2014/main" id="{52E0E19F-2F57-5C95-4F3E-29C00FE521AA}"/>
              </a:ext>
            </a:extLst>
          </p:cNvPr>
          <p:cNvGrpSpPr/>
          <p:nvPr/>
        </p:nvGrpSpPr>
        <p:grpSpPr>
          <a:xfrm>
            <a:off x="7628625" y="1104395"/>
            <a:ext cx="304800" cy="304800"/>
            <a:chOff x="0" y="0"/>
            <a:chExt cx="812800" cy="812800"/>
          </a:xfrm>
        </p:grpSpPr>
        <p:sp>
          <p:nvSpPr>
            <p:cNvPr id="52" name="Freeform 50">
              <a:extLst>
                <a:ext uri="{FF2B5EF4-FFF2-40B4-BE49-F238E27FC236}">
                  <a16:creationId xmlns:a16="http://schemas.microsoft.com/office/drawing/2014/main" id="{0382D038-C63E-D58B-D78F-0F65B814EC91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BBD2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53" name="TextBox 51">
              <a:extLst>
                <a:ext uri="{FF2B5EF4-FFF2-40B4-BE49-F238E27FC236}">
                  <a16:creationId xmlns:a16="http://schemas.microsoft.com/office/drawing/2014/main" id="{A815957E-C560-8CD8-ECA6-BA611A7F8CCF}"/>
                </a:ext>
              </a:extLst>
            </p:cNvPr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1200"/>
            </a:p>
          </p:txBody>
        </p:sp>
      </p:grpSp>
      <p:sp>
        <p:nvSpPr>
          <p:cNvPr id="54" name="Freeform 52">
            <a:extLst>
              <a:ext uri="{FF2B5EF4-FFF2-40B4-BE49-F238E27FC236}">
                <a16:creationId xmlns:a16="http://schemas.microsoft.com/office/drawing/2014/main" id="{B10D4FE7-4700-EB1E-1313-E7CB508A2ADA}"/>
              </a:ext>
            </a:extLst>
          </p:cNvPr>
          <p:cNvSpPr/>
          <p:nvPr/>
        </p:nvSpPr>
        <p:spPr>
          <a:xfrm rot="10800000">
            <a:off x="6686234" y="4768919"/>
            <a:ext cx="2189582" cy="262651"/>
          </a:xfrm>
          <a:custGeom>
            <a:avLst/>
            <a:gdLst/>
            <a:ahLst/>
            <a:cxnLst/>
            <a:rect l="l" t="t" r="r" b="b"/>
            <a:pathLst>
              <a:path w="3284373" h="393976">
                <a:moveTo>
                  <a:pt x="0" y="0"/>
                </a:moveTo>
                <a:lnTo>
                  <a:pt x="3284373" y="0"/>
                </a:lnTo>
                <a:lnTo>
                  <a:pt x="3284373" y="393976"/>
                </a:lnTo>
                <a:lnTo>
                  <a:pt x="0" y="393976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t="-118264"/>
            </a:stretch>
          </a:blipFill>
        </p:spPr>
        <p:txBody>
          <a:bodyPr/>
          <a:lstStyle/>
          <a:p>
            <a:endParaRPr lang="en-US" sz="1200"/>
          </a:p>
        </p:txBody>
      </p:sp>
      <p:grpSp>
        <p:nvGrpSpPr>
          <p:cNvPr id="55" name="Group 53">
            <a:extLst>
              <a:ext uri="{FF2B5EF4-FFF2-40B4-BE49-F238E27FC236}">
                <a16:creationId xmlns:a16="http://schemas.microsoft.com/office/drawing/2014/main" id="{1CBA37A0-869C-A628-1E0D-4B2ED0283038}"/>
              </a:ext>
            </a:extLst>
          </p:cNvPr>
          <p:cNvGrpSpPr/>
          <p:nvPr/>
        </p:nvGrpSpPr>
        <p:grpSpPr>
          <a:xfrm>
            <a:off x="9260419" y="2179835"/>
            <a:ext cx="1600200" cy="2836635"/>
            <a:chOff x="0" y="0"/>
            <a:chExt cx="632178" cy="1120646"/>
          </a:xfrm>
        </p:grpSpPr>
        <p:sp>
          <p:nvSpPr>
            <p:cNvPr id="56" name="Freeform 54">
              <a:extLst>
                <a:ext uri="{FF2B5EF4-FFF2-40B4-BE49-F238E27FC236}">
                  <a16:creationId xmlns:a16="http://schemas.microsoft.com/office/drawing/2014/main" id="{92CF8BD0-7E80-4C78-058C-3172259B7D5D}"/>
                </a:ext>
              </a:extLst>
            </p:cNvPr>
            <p:cNvSpPr/>
            <p:nvPr/>
          </p:nvSpPr>
          <p:spPr>
            <a:xfrm>
              <a:off x="0" y="0"/>
              <a:ext cx="632178" cy="1120646"/>
            </a:xfrm>
            <a:custGeom>
              <a:avLst/>
              <a:gdLst/>
              <a:ahLst/>
              <a:cxnLst/>
              <a:rect l="l" t="t" r="r" b="b"/>
              <a:pathLst>
                <a:path w="632178" h="1120646">
                  <a:moveTo>
                    <a:pt x="0" y="0"/>
                  </a:moveTo>
                  <a:lnTo>
                    <a:pt x="632178" y="0"/>
                  </a:lnTo>
                  <a:lnTo>
                    <a:pt x="632178" y="1120646"/>
                  </a:lnTo>
                  <a:lnTo>
                    <a:pt x="0" y="112064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57" name="TextBox 55">
              <a:extLst>
                <a:ext uri="{FF2B5EF4-FFF2-40B4-BE49-F238E27FC236}">
                  <a16:creationId xmlns:a16="http://schemas.microsoft.com/office/drawing/2014/main" id="{99E2AC5E-FC47-88F5-2557-59A4245B862A}"/>
                </a:ext>
              </a:extLst>
            </p:cNvPr>
            <p:cNvSpPr txBox="1"/>
            <p:nvPr/>
          </p:nvSpPr>
          <p:spPr>
            <a:xfrm>
              <a:off x="0" y="-38100"/>
              <a:ext cx="632178" cy="1158746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1200"/>
            </a:p>
          </p:txBody>
        </p:sp>
      </p:grpSp>
      <p:sp>
        <p:nvSpPr>
          <p:cNvPr id="58" name="Freeform 56">
            <a:extLst>
              <a:ext uri="{FF2B5EF4-FFF2-40B4-BE49-F238E27FC236}">
                <a16:creationId xmlns:a16="http://schemas.microsoft.com/office/drawing/2014/main" id="{AF6FB107-7CBE-375C-C3BF-61E9B1F21B64}"/>
              </a:ext>
            </a:extLst>
          </p:cNvPr>
          <p:cNvSpPr/>
          <p:nvPr/>
        </p:nvSpPr>
        <p:spPr>
          <a:xfrm>
            <a:off x="8965728" y="2178115"/>
            <a:ext cx="2189582" cy="262651"/>
          </a:xfrm>
          <a:custGeom>
            <a:avLst/>
            <a:gdLst/>
            <a:ahLst/>
            <a:cxnLst/>
            <a:rect l="l" t="t" r="r" b="b"/>
            <a:pathLst>
              <a:path w="3284373" h="393976">
                <a:moveTo>
                  <a:pt x="0" y="0"/>
                </a:moveTo>
                <a:lnTo>
                  <a:pt x="3284374" y="0"/>
                </a:lnTo>
                <a:lnTo>
                  <a:pt x="3284374" y="393977"/>
                </a:lnTo>
                <a:lnTo>
                  <a:pt x="0" y="393977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t="-118264"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59" name="Freeform 57">
            <a:extLst>
              <a:ext uri="{FF2B5EF4-FFF2-40B4-BE49-F238E27FC236}">
                <a16:creationId xmlns:a16="http://schemas.microsoft.com/office/drawing/2014/main" id="{CA0152D5-9614-AD75-FB2B-C2AF9011F318}"/>
              </a:ext>
            </a:extLst>
          </p:cNvPr>
          <p:cNvSpPr/>
          <p:nvPr/>
        </p:nvSpPr>
        <p:spPr>
          <a:xfrm>
            <a:off x="9570351" y="1687948"/>
            <a:ext cx="1100433" cy="1098433"/>
          </a:xfrm>
          <a:custGeom>
            <a:avLst/>
            <a:gdLst/>
            <a:ahLst/>
            <a:cxnLst/>
            <a:rect l="l" t="t" r="r" b="b"/>
            <a:pathLst>
              <a:path w="1650650" h="1647649">
                <a:moveTo>
                  <a:pt x="0" y="0"/>
                </a:moveTo>
                <a:lnTo>
                  <a:pt x="1650650" y="0"/>
                </a:lnTo>
                <a:lnTo>
                  <a:pt x="1650650" y="1647649"/>
                </a:lnTo>
                <a:lnTo>
                  <a:pt x="0" y="1647649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grpSp>
        <p:nvGrpSpPr>
          <p:cNvPr id="60" name="Group 58">
            <a:extLst>
              <a:ext uri="{FF2B5EF4-FFF2-40B4-BE49-F238E27FC236}">
                <a16:creationId xmlns:a16="http://schemas.microsoft.com/office/drawing/2014/main" id="{E9EC15EF-AAEF-C16D-4133-0E5D64FDDF81}"/>
              </a:ext>
            </a:extLst>
          </p:cNvPr>
          <p:cNvGrpSpPr/>
          <p:nvPr/>
        </p:nvGrpSpPr>
        <p:grpSpPr>
          <a:xfrm>
            <a:off x="9570351" y="1687947"/>
            <a:ext cx="980336" cy="980336"/>
            <a:chOff x="0" y="0"/>
            <a:chExt cx="812800" cy="812800"/>
          </a:xfrm>
        </p:grpSpPr>
        <p:sp>
          <p:nvSpPr>
            <p:cNvPr id="61" name="Freeform 59">
              <a:extLst>
                <a:ext uri="{FF2B5EF4-FFF2-40B4-BE49-F238E27FC236}">
                  <a16:creationId xmlns:a16="http://schemas.microsoft.com/office/drawing/2014/main" id="{6C490714-2127-0E19-6EC6-0FCD33D72AA5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619348" y="44673"/>
                  </a:moveTo>
                  <a:lnTo>
                    <a:pt x="768127" y="193452"/>
                  </a:lnTo>
                  <a:cubicBezTo>
                    <a:pt x="796730" y="222056"/>
                    <a:pt x="812800" y="260851"/>
                    <a:pt x="812800" y="301303"/>
                  </a:cubicBezTo>
                  <a:lnTo>
                    <a:pt x="812800" y="511497"/>
                  </a:lnTo>
                  <a:cubicBezTo>
                    <a:pt x="812800" y="551949"/>
                    <a:pt x="796730" y="590745"/>
                    <a:pt x="768127" y="619348"/>
                  </a:cubicBezTo>
                  <a:lnTo>
                    <a:pt x="619348" y="768127"/>
                  </a:lnTo>
                  <a:cubicBezTo>
                    <a:pt x="590745" y="796730"/>
                    <a:pt x="551949" y="812800"/>
                    <a:pt x="511497" y="812800"/>
                  </a:cubicBezTo>
                  <a:lnTo>
                    <a:pt x="301303" y="812800"/>
                  </a:lnTo>
                  <a:cubicBezTo>
                    <a:pt x="260851" y="812800"/>
                    <a:pt x="222056" y="796730"/>
                    <a:pt x="193452" y="768127"/>
                  </a:cubicBezTo>
                  <a:lnTo>
                    <a:pt x="44673" y="619348"/>
                  </a:lnTo>
                  <a:cubicBezTo>
                    <a:pt x="16069" y="590745"/>
                    <a:pt x="0" y="551949"/>
                    <a:pt x="0" y="511497"/>
                  </a:cubicBezTo>
                  <a:lnTo>
                    <a:pt x="0" y="301303"/>
                  </a:lnTo>
                  <a:cubicBezTo>
                    <a:pt x="0" y="260851"/>
                    <a:pt x="16069" y="222056"/>
                    <a:pt x="44673" y="193452"/>
                  </a:cubicBezTo>
                  <a:lnTo>
                    <a:pt x="193452" y="44673"/>
                  </a:lnTo>
                  <a:cubicBezTo>
                    <a:pt x="222056" y="16069"/>
                    <a:pt x="260851" y="0"/>
                    <a:pt x="301303" y="0"/>
                  </a:cubicBezTo>
                  <a:lnTo>
                    <a:pt x="511497" y="0"/>
                  </a:lnTo>
                  <a:cubicBezTo>
                    <a:pt x="551949" y="0"/>
                    <a:pt x="590745" y="16069"/>
                    <a:pt x="619348" y="44673"/>
                  </a:cubicBezTo>
                  <a:close/>
                </a:path>
              </a:pathLst>
            </a:custGeom>
            <a:solidFill>
              <a:srgbClr val="3F9CED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62" name="TextBox 60">
              <a:extLst>
                <a:ext uri="{FF2B5EF4-FFF2-40B4-BE49-F238E27FC236}">
                  <a16:creationId xmlns:a16="http://schemas.microsoft.com/office/drawing/2014/main" id="{E7CB5536-4EEE-0162-149A-2BD1B61A8458}"/>
                </a:ext>
              </a:extLst>
            </p:cNvPr>
            <p:cNvSpPr txBox="1"/>
            <p:nvPr/>
          </p:nvSpPr>
          <p:spPr>
            <a:xfrm>
              <a:off x="63500" y="25400"/>
              <a:ext cx="685800" cy="723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1200"/>
            </a:p>
          </p:txBody>
        </p:sp>
      </p:grpSp>
      <p:grpSp>
        <p:nvGrpSpPr>
          <p:cNvPr id="63" name="Group 61">
            <a:extLst>
              <a:ext uri="{FF2B5EF4-FFF2-40B4-BE49-F238E27FC236}">
                <a16:creationId xmlns:a16="http://schemas.microsoft.com/office/drawing/2014/main" id="{59FAC372-D152-CC0C-95CA-FE3A14132389}"/>
              </a:ext>
            </a:extLst>
          </p:cNvPr>
          <p:cNvGrpSpPr/>
          <p:nvPr/>
        </p:nvGrpSpPr>
        <p:grpSpPr>
          <a:xfrm>
            <a:off x="9908119" y="1104395"/>
            <a:ext cx="304800" cy="304800"/>
            <a:chOff x="0" y="0"/>
            <a:chExt cx="812800" cy="812800"/>
          </a:xfrm>
        </p:grpSpPr>
        <p:sp>
          <p:nvSpPr>
            <p:cNvPr id="64" name="Freeform 62">
              <a:extLst>
                <a:ext uri="{FF2B5EF4-FFF2-40B4-BE49-F238E27FC236}">
                  <a16:creationId xmlns:a16="http://schemas.microsoft.com/office/drawing/2014/main" id="{F0FE3521-7AEE-6A97-7583-03BEC0020124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3F9CED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65" name="TextBox 63">
              <a:extLst>
                <a:ext uri="{FF2B5EF4-FFF2-40B4-BE49-F238E27FC236}">
                  <a16:creationId xmlns:a16="http://schemas.microsoft.com/office/drawing/2014/main" id="{09C5E02E-D165-9AFA-D554-94F3F7948512}"/>
                </a:ext>
              </a:extLst>
            </p:cNvPr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1200"/>
            </a:p>
          </p:txBody>
        </p:sp>
      </p:grpSp>
      <p:sp>
        <p:nvSpPr>
          <p:cNvPr id="66" name="Freeform 64">
            <a:extLst>
              <a:ext uri="{FF2B5EF4-FFF2-40B4-BE49-F238E27FC236}">
                <a16:creationId xmlns:a16="http://schemas.microsoft.com/office/drawing/2014/main" id="{AE8E2BBF-4E20-1F79-30F5-6F7DFBDE23BC}"/>
              </a:ext>
            </a:extLst>
          </p:cNvPr>
          <p:cNvSpPr/>
          <p:nvPr/>
        </p:nvSpPr>
        <p:spPr>
          <a:xfrm rot="10800000">
            <a:off x="8965728" y="4768919"/>
            <a:ext cx="2189582" cy="262651"/>
          </a:xfrm>
          <a:custGeom>
            <a:avLst/>
            <a:gdLst/>
            <a:ahLst/>
            <a:cxnLst/>
            <a:rect l="l" t="t" r="r" b="b"/>
            <a:pathLst>
              <a:path w="3284373" h="393976">
                <a:moveTo>
                  <a:pt x="0" y="0"/>
                </a:moveTo>
                <a:lnTo>
                  <a:pt x="3284374" y="0"/>
                </a:lnTo>
                <a:lnTo>
                  <a:pt x="3284374" y="393976"/>
                </a:lnTo>
                <a:lnTo>
                  <a:pt x="0" y="393976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t="-118264"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67" name="Freeform 65">
            <a:extLst>
              <a:ext uri="{FF2B5EF4-FFF2-40B4-BE49-F238E27FC236}">
                <a16:creationId xmlns:a16="http://schemas.microsoft.com/office/drawing/2014/main" id="{46CD6809-AC3A-A4B1-2E88-EFC6518A2C82}"/>
              </a:ext>
            </a:extLst>
          </p:cNvPr>
          <p:cNvSpPr/>
          <p:nvPr/>
        </p:nvSpPr>
        <p:spPr>
          <a:xfrm>
            <a:off x="3062016" y="2000315"/>
            <a:ext cx="320040" cy="355600"/>
          </a:xfrm>
          <a:custGeom>
            <a:avLst/>
            <a:gdLst/>
            <a:ahLst/>
            <a:cxnLst/>
            <a:rect l="l" t="t" r="r" b="b"/>
            <a:pathLst>
              <a:path w="480060" h="533400">
                <a:moveTo>
                  <a:pt x="0" y="0"/>
                </a:moveTo>
                <a:lnTo>
                  <a:pt x="480060" y="0"/>
                </a:lnTo>
                <a:lnTo>
                  <a:pt x="480060" y="533400"/>
                </a:lnTo>
                <a:lnTo>
                  <a:pt x="0" y="533400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68" name="Freeform 66">
            <a:extLst>
              <a:ext uri="{FF2B5EF4-FFF2-40B4-BE49-F238E27FC236}">
                <a16:creationId xmlns:a16="http://schemas.microsoft.com/office/drawing/2014/main" id="{94D9298B-08A4-8B23-627A-DE692B0BCA97}"/>
              </a:ext>
            </a:extLst>
          </p:cNvPr>
          <p:cNvSpPr/>
          <p:nvPr/>
        </p:nvSpPr>
        <p:spPr>
          <a:xfrm>
            <a:off x="764119" y="1957349"/>
            <a:ext cx="320040" cy="355600"/>
          </a:xfrm>
          <a:custGeom>
            <a:avLst/>
            <a:gdLst/>
            <a:ahLst/>
            <a:cxnLst/>
            <a:rect l="l" t="t" r="r" b="b"/>
            <a:pathLst>
              <a:path w="480060" h="533400">
                <a:moveTo>
                  <a:pt x="0" y="0"/>
                </a:moveTo>
                <a:lnTo>
                  <a:pt x="480060" y="0"/>
                </a:lnTo>
                <a:lnTo>
                  <a:pt x="480060" y="533400"/>
                </a:lnTo>
                <a:lnTo>
                  <a:pt x="0" y="533400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69" name="Freeform 67">
            <a:extLst>
              <a:ext uri="{FF2B5EF4-FFF2-40B4-BE49-F238E27FC236}">
                <a16:creationId xmlns:a16="http://schemas.microsoft.com/office/drawing/2014/main" id="{2C11E391-51A9-68A6-2272-530A439366B1}"/>
              </a:ext>
            </a:extLst>
          </p:cNvPr>
          <p:cNvSpPr/>
          <p:nvPr/>
        </p:nvSpPr>
        <p:spPr>
          <a:xfrm>
            <a:off x="5321332" y="2009368"/>
            <a:ext cx="355600" cy="337497"/>
          </a:xfrm>
          <a:custGeom>
            <a:avLst/>
            <a:gdLst/>
            <a:ahLst/>
            <a:cxnLst/>
            <a:rect l="l" t="t" r="r" b="b"/>
            <a:pathLst>
              <a:path w="533400" h="506245">
                <a:moveTo>
                  <a:pt x="0" y="0"/>
                </a:moveTo>
                <a:lnTo>
                  <a:pt x="533400" y="0"/>
                </a:lnTo>
                <a:lnTo>
                  <a:pt x="533400" y="506245"/>
                </a:lnTo>
                <a:lnTo>
                  <a:pt x="0" y="506245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70" name="Freeform 68">
            <a:extLst>
              <a:ext uri="{FF2B5EF4-FFF2-40B4-BE49-F238E27FC236}">
                <a16:creationId xmlns:a16="http://schemas.microsoft.com/office/drawing/2014/main" id="{E448A62E-8B99-98DC-4DA6-F8BDE4846100}"/>
              </a:ext>
            </a:extLst>
          </p:cNvPr>
          <p:cNvSpPr/>
          <p:nvPr/>
        </p:nvSpPr>
        <p:spPr>
          <a:xfrm>
            <a:off x="9882719" y="2000315"/>
            <a:ext cx="355600" cy="355600"/>
          </a:xfrm>
          <a:custGeom>
            <a:avLst/>
            <a:gdLst/>
            <a:ahLst/>
            <a:cxnLst/>
            <a:rect l="l" t="t" r="r" b="b"/>
            <a:pathLst>
              <a:path w="533400" h="533400">
                <a:moveTo>
                  <a:pt x="0" y="0"/>
                </a:moveTo>
                <a:lnTo>
                  <a:pt x="533400" y="0"/>
                </a:lnTo>
                <a:lnTo>
                  <a:pt x="533400" y="533400"/>
                </a:lnTo>
                <a:lnTo>
                  <a:pt x="0" y="533400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71" name="TextBox 71">
            <a:extLst>
              <a:ext uri="{FF2B5EF4-FFF2-40B4-BE49-F238E27FC236}">
                <a16:creationId xmlns:a16="http://schemas.microsoft.com/office/drawing/2014/main" id="{CD08DBBA-0F2F-BFA8-C62F-B5A8DEE88AAD}"/>
              </a:ext>
            </a:extLst>
          </p:cNvPr>
          <p:cNvSpPr txBox="1"/>
          <p:nvPr/>
        </p:nvSpPr>
        <p:spPr>
          <a:xfrm>
            <a:off x="185881" y="3246967"/>
            <a:ext cx="1690110" cy="160627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387"/>
              </a:lnSpc>
            </a:pPr>
            <a:r>
              <a:rPr lang="en-US" sz="1067">
                <a:solidFill>
                  <a:srgbClr val="333333"/>
                </a:solidFill>
                <a:latin typeface="Open Sans"/>
                <a:ea typeface="Open Sans"/>
                <a:cs typeface="Open Sans"/>
                <a:sym typeface="Open Sans"/>
              </a:rPr>
              <a:t> End-to-end automation synchronizing FE and backend builds with REST API-based branch validation and multi-repository coordination. parameterized builds  with automatic version tagging and work item linking.</a:t>
            </a:r>
          </a:p>
        </p:txBody>
      </p:sp>
      <p:sp>
        <p:nvSpPr>
          <p:cNvPr id="72" name="TextBox 72">
            <a:extLst>
              <a:ext uri="{FF2B5EF4-FFF2-40B4-BE49-F238E27FC236}">
                <a16:creationId xmlns:a16="http://schemas.microsoft.com/office/drawing/2014/main" id="{0E9CBDA4-12A2-ECD4-88A3-F15FC6832394}"/>
              </a:ext>
            </a:extLst>
          </p:cNvPr>
          <p:cNvSpPr txBox="1"/>
          <p:nvPr/>
        </p:nvSpPr>
        <p:spPr>
          <a:xfrm>
            <a:off x="275792" y="2713817"/>
            <a:ext cx="1457040" cy="52905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387"/>
              </a:lnSpc>
            </a:pPr>
            <a:r>
              <a:rPr lang="en-US" sz="1067" b="1">
                <a:solidFill>
                  <a:srgbClr val="333333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Integrated Frontend &amp; Backend Build Pipeline</a:t>
            </a:r>
          </a:p>
        </p:txBody>
      </p:sp>
      <p:sp>
        <p:nvSpPr>
          <p:cNvPr id="73" name="TextBox 73">
            <a:extLst>
              <a:ext uri="{FF2B5EF4-FFF2-40B4-BE49-F238E27FC236}">
                <a16:creationId xmlns:a16="http://schemas.microsoft.com/office/drawing/2014/main" id="{30AC76AB-8DCC-5A19-8E4A-02BFFBF8412F}"/>
              </a:ext>
            </a:extLst>
          </p:cNvPr>
          <p:cNvSpPr txBox="1"/>
          <p:nvPr/>
        </p:nvSpPr>
        <p:spPr>
          <a:xfrm>
            <a:off x="2545476" y="3176641"/>
            <a:ext cx="1333500" cy="70859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387"/>
              </a:lnSpc>
            </a:pPr>
            <a:r>
              <a:rPr lang="en-US" sz="1067">
                <a:solidFill>
                  <a:srgbClr val="333333"/>
                </a:solidFill>
                <a:latin typeface="Open Sans"/>
                <a:ea typeface="Open Sans"/>
                <a:cs typeface="Open Sans"/>
                <a:sym typeface="Open Sans"/>
              </a:rPr>
              <a:t>Run integrated robot tests on weekly basis and publish the results. </a:t>
            </a:r>
          </a:p>
        </p:txBody>
      </p:sp>
      <p:sp>
        <p:nvSpPr>
          <p:cNvPr id="74" name="TextBox 74">
            <a:extLst>
              <a:ext uri="{FF2B5EF4-FFF2-40B4-BE49-F238E27FC236}">
                <a16:creationId xmlns:a16="http://schemas.microsoft.com/office/drawing/2014/main" id="{A8728D3B-DC06-9E5B-2C11-8CB2216B616C}"/>
              </a:ext>
            </a:extLst>
          </p:cNvPr>
          <p:cNvSpPr txBox="1"/>
          <p:nvPr/>
        </p:nvSpPr>
        <p:spPr>
          <a:xfrm>
            <a:off x="2472906" y="2730296"/>
            <a:ext cx="1618380" cy="34951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387"/>
              </a:lnSpc>
            </a:pPr>
            <a:r>
              <a:rPr lang="en-US" sz="1067" b="1">
                <a:solidFill>
                  <a:srgbClr val="333333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Frontend Release Test Automation</a:t>
            </a:r>
          </a:p>
        </p:txBody>
      </p:sp>
      <p:sp>
        <p:nvSpPr>
          <p:cNvPr id="75" name="TextBox 75">
            <a:extLst>
              <a:ext uri="{FF2B5EF4-FFF2-40B4-BE49-F238E27FC236}">
                <a16:creationId xmlns:a16="http://schemas.microsoft.com/office/drawing/2014/main" id="{6F778C3D-204F-7F22-A729-ED06FA988505}"/>
              </a:ext>
            </a:extLst>
          </p:cNvPr>
          <p:cNvSpPr txBox="1"/>
          <p:nvPr/>
        </p:nvSpPr>
        <p:spPr>
          <a:xfrm>
            <a:off x="4834780" y="3214015"/>
            <a:ext cx="1333500" cy="142673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387"/>
              </a:lnSpc>
            </a:pPr>
            <a:r>
              <a:rPr lang="en-US" sz="1067">
                <a:solidFill>
                  <a:srgbClr val="333333"/>
                </a:solidFill>
                <a:latin typeface="Open Sans"/>
                <a:ea typeface="Open Sans"/>
                <a:cs typeface="Open Sans"/>
                <a:sym typeface="Open Sans"/>
              </a:rPr>
              <a:t>Test execution engine that analyzes code changes to dynamically select relevant Robot Framework tests from feature mappings.</a:t>
            </a:r>
          </a:p>
        </p:txBody>
      </p:sp>
      <p:sp>
        <p:nvSpPr>
          <p:cNvPr id="76" name="TextBox 76">
            <a:extLst>
              <a:ext uri="{FF2B5EF4-FFF2-40B4-BE49-F238E27FC236}">
                <a16:creationId xmlns:a16="http://schemas.microsoft.com/office/drawing/2014/main" id="{5B095C1B-D767-019D-3F0A-02A11A07C04F}"/>
              </a:ext>
            </a:extLst>
          </p:cNvPr>
          <p:cNvSpPr txBox="1"/>
          <p:nvPr/>
        </p:nvSpPr>
        <p:spPr>
          <a:xfrm>
            <a:off x="4834780" y="2730291"/>
            <a:ext cx="1600200" cy="34951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387"/>
              </a:lnSpc>
            </a:pPr>
            <a:r>
              <a:rPr lang="en-US" sz="1067" b="1">
                <a:solidFill>
                  <a:srgbClr val="333333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PR Based </a:t>
            </a:r>
          </a:p>
          <a:p>
            <a:pPr algn="ctr">
              <a:lnSpc>
                <a:spcPts val="1387"/>
              </a:lnSpc>
            </a:pPr>
            <a:r>
              <a:rPr lang="en-US" sz="1067" b="1">
                <a:solidFill>
                  <a:srgbClr val="333333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Testing Framework</a:t>
            </a:r>
          </a:p>
        </p:txBody>
      </p:sp>
      <p:sp>
        <p:nvSpPr>
          <p:cNvPr id="77" name="TextBox 77">
            <a:extLst>
              <a:ext uri="{FF2B5EF4-FFF2-40B4-BE49-F238E27FC236}">
                <a16:creationId xmlns:a16="http://schemas.microsoft.com/office/drawing/2014/main" id="{198CECF8-9856-3B27-DBE5-08998CBA0783}"/>
              </a:ext>
            </a:extLst>
          </p:cNvPr>
          <p:cNvSpPr txBox="1"/>
          <p:nvPr/>
        </p:nvSpPr>
        <p:spPr>
          <a:xfrm>
            <a:off x="7114275" y="3214015"/>
            <a:ext cx="1333500" cy="142673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387"/>
              </a:lnSpc>
            </a:pPr>
            <a:r>
              <a:rPr lang="en-US" sz="1067">
                <a:solidFill>
                  <a:srgbClr val="333333"/>
                </a:solidFill>
                <a:latin typeface="Open Sans"/>
                <a:ea typeface="Open Sans"/>
                <a:cs typeface="Open Sans"/>
                <a:sym typeface="Open Sans"/>
              </a:rPr>
              <a:t>Embedded firmware build system supporting multiple configurations (ST, FT, UT) in a single parameterized pipeline with HSM key management.</a:t>
            </a:r>
          </a:p>
        </p:txBody>
      </p:sp>
      <p:sp>
        <p:nvSpPr>
          <p:cNvPr id="78" name="TextBox 78">
            <a:extLst>
              <a:ext uri="{FF2B5EF4-FFF2-40B4-BE49-F238E27FC236}">
                <a16:creationId xmlns:a16="http://schemas.microsoft.com/office/drawing/2014/main" id="{276B10E1-8941-E1BE-AE64-646E3AEA3DCE}"/>
              </a:ext>
            </a:extLst>
          </p:cNvPr>
          <p:cNvSpPr txBox="1"/>
          <p:nvPr/>
        </p:nvSpPr>
        <p:spPr>
          <a:xfrm>
            <a:off x="7114274" y="2713816"/>
            <a:ext cx="1466227" cy="52905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387"/>
              </a:lnSpc>
            </a:pPr>
            <a:r>
              <a:rPr lang="en-US" sz="1067" b="1">
                <a:solidFill>
                  <a:srgbClr val="333333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Multi-Environment</a:t>
            </a:r>
            <a:br>
              <a:rPr lang="en-US" sz="1067" b="1">
                <a:solidFill>
                  <a:srgbClr val="333333"/>
                </a:solidFill>
                <a:latin typeface="Open Sans Bold"/>
                <a:ea typeface="Open Sans Bold"/>
                <a:cs typeface="Open Sans Bold"/>
                <a:sym typeface="Open Sans Bold"/>
              </a:rPr>
            </a:br>
            <a:r>
              <a:rPr lang="en-US" sz="1067" b="1">
                <a:solidFill>
                  <a:srgbClr val="333333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Firmware Build Automation</a:t>
            </a:r>
          </a:p>
        </p:txBody>
      </p:sp>
      <p:sp>
        <p:nvSpPr>
          <p:cNvPr id="79" name="TextBox 79">
            <a:extLst>
              <a:ext uri="{FF2B5EF4-FFF2-40B4-BE49-F238E27FC236}">
                <a16:creationId xmlns:a16="http://schemas.microsoft.com/office/drawing/2014/main" id="{DD69D4D2-857A-9556-8FB4-44FC921D8827}"/>
              </a:ext>
            </a:extLst>
          </p:cNvPr>
          <p:cNvSpPr txBox="1"/>
          <p:nvPr/>
        </p:nvSpPr>
        <p:spPr>
          <a:xfrm>
            <a:off x="9393769" y="3214015"/>
            <a:ext cx="1333500" cy="106766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387"/>
              </a:lnSpc>
            </a:pPr>
            <a:r>
              <a:rPr lang="en-US" sz="1067">
                <a:solidFill>
                  <a:srgbClr val="333333"/>
                </a:solidFill>
                <a:latin typeface="Open Sans"/>
                <a:ea typeface="Open Sans"/>
                <a:cs typeface="Open Sans"/>
                <a:sym typeface="Open Sans"/>
              </a:rPr>
              <a:t>Integrated static analysis covering both frontend and backend with automated quality gate enforcement. </a:t>
            </a:r>
          </a:p>
        </p:txBody>
      </p:sp>
      <p:sp>
        <p:nvSpPr>
          <p:cNvPr id="80" name="TextBox 80">
            <a:extLst>
              <a:ext uri="{FF2B5EF4-FFF2-40B4-BE49-F238E27FC236}">
                <a16:creationId xmlns:a16="http://schemas.microsoft.com/office/drawing/2014/main" id="{4242C1CB-0C15-52C5-A8EB-4047937A48D0}"/>
              </a:ext>
            </a:extLst>
          </p:cNvPr>
          <p:cNvSpPr txBox="1"/>
          <p:nvPr/>
        </p:nvSpPr>
        <p:spPr>
          <a:xfrm>
            <a:off x="9286674" y="2664387"/>
            <a:ext cx="1761541" cy="52905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387"/>
              </a:lnSpc>
            </a:pPr>
            <a:r>
              <a:rPr lang="en-US" sz="1067" b="1">
                <a:solidFill>
                  <a:srgbClr val="333333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Comprehensive</a:t>
            </a:r>
          </a:p>
          <a:p>
            <a:pPr algn="ctr">
              <a:lnSpc>
                <a:spcPts val="1387"/>
              </a:lnSpc>
            </a:pPr>
            <a:r>
              <a:rPr lang="en-US" sz="1067" b="1">
                <a:solidFill>
                  <a:srgbClr val="333333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Static Code Analysis Integration</a:t>
            </a:r>
          </a:p>
        </p:txBody>
      </p:sp>
      <p:sp>
        <p:nvSpPr>
          <p:cNvPr id="81" name="Freeform 81">
            <a:extLst>
              <a:ext uri="{FF2B5EF4-FFF2-40B4-BE49-F238E27FC236}">
                <a16:creationId xmlns:a16="http://schemas.microsoft.com/office/drawing/2014/main" id="{ED0BB961-69E2-041E-A76C-EF2E54495BB7}"/>
              </a:ext>
            </a:extLst>
          </p:cNvPr>
          <p:cNvSpPr/>
          <p:nvPr/>
        </p:nvSpPr>
        <p:spPr>
          <a:xfrm>
            <a:off x="7585421" y="2000315"/>
            <a:ext cx="346549" cy="355600"/>
          </a:xfrm>
          <a:custGeom>
            <a:avLst/>
            <a:gdLst/>
            <a:ahLst/>
            <a:cxnLst/>
            <a:rect l="l" t="t" r="r" b="b"/>
            <a:pathLst>
              <a:path w="519823" h="533400">
                <a:moveTo>
                  <a:pt x="0" y="0"/>
                </a:moveTo>
                <a:lnTo>
                  <a:pt x="519822" y="0"/>
                </a:lnTo>
                <a:lnTo>
                  <a:pt x="519822" y="533400"/>
                </a:lnTo>
                <a:lnTo>
                  <a:pt x="0" y="533400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6094D61-0F62-75B4-30F3-B09BFC11EB40}"/>
              </a:ext>
            </a:extLst>
          </p:cNvPr>
          <p:cNvSpPr txBox="1"/>
          <p:nvPr/>
        </p:nvSpPr>
        <p:spPr>
          <a:xfrm>
            <a:off x="726852" y="5194472"/>
            <a:ext cx="9841522" cy="2920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**Backend build pipeline process has reduced build time from ~4hrs to ~5mins eliminating human in loop once initiated </a:t>
            </a:r>
          </a:p>
        </p:txBody>
      </p:sp>
    </p:spTree>
    <p:extLst>
      <p:ext uri="{BB962C8B-B14F-4D97-AF65-F5344CB8AC3E}">
        <p14:creationId xmlns:p14="http://schemas.microsoft.com/office/powerpoint/2010/main" val="9058647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07C2BA-F70A-CF30-14CA-76DFBEB599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229F1F8-2CF6-9AF4-A27F-A3270A2E0794}"/>
              </a:ext>
            </a:extLst>
          </p:cNvPr>
          <p:cNvCxnSpPr>
            <a:cxnSpLocks/>
          </p:cNvCxnSpPr>
          <p:nvPr/>
        </p:nvCxnSpPr>
        <p:spPr>
          <a:xfrm flipH="1">
            <a:off x="302930" y="648194"/>
            <a:ext cx="9899849" cy="0"/>
          </a:xfrm>
          <a:prstGeom prst="line">
            <a:avLst/>
          </a:prstGeom>
          <a:ln w="19050">
            <a:solidFill>
              <a:srgbClr val="BD0F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9F7424-CDAA-5D67-0F73-E95BD41E686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kumimoji="0" lang="en-US" sz="2800" i="0" u="none" strike="noStrike" kern="1200" cap="none" spc="-55" normalizeH="0" baseline="0" noProof="0">
                <a:ln>
                  <a:noFill/>
                </a:ln>
                <a:solidFill>
                  <a:srgbClr val="BC0F79"/>
                </a:solidFill>
                <a:effectLst/>
                <a:uLnTx/>
                <a:uFillTx/>
                <a:latin typeface="Bosch Sans Bold"/>
                <a:cs typeface="Arial"/>
              </a:rPr>
              <a:t>Key initi</a:t>
            </a:r>
            <a:r>
              <a:rPr lang="en-US" kern="1200" spc="-55" err="1">
                <a:solidFill>
                  <a:srgbClr val="BC0F79"/>
                </a:solidFill>
                <a:latin typeface="Bosch Sans Bold"/>
                <a:cs typeface="Arial"/>
              </a:rPr>
              <a:t>atives</a:t>
            </a:r>
            <a:r>
              <a:rPr lang="en-US" kern="1200" spc="-55">
                <a:solidFill>
                  <a:srgbClr val="BC0F79"/>
                </a:solidFill>
                <a:latin typeface="Bosch Sans Bold"/>
                <a:cs typeface="Arial"/>
              </a:rPr>
              <a:t>- 2025</a:t>
            </a:r>
            <a:endParaRPr kumimoji="0" lang="en-US" sz="280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Sans Bold"/>
              <a:cs typeface="Arial"/>
            </a:endParaRPr>
          </a:p>
          <a:p>
            <a:endParaRPr lang="en-IN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E60DA7-72B2-25C7-B4A8-3A6288EFC979}"/>
              </a:ext>
            </a:extLst>
          </p:cNvPr>
          <p:cNvSpPr txBox="1">
            <a:spLocks/>
          </p:cNvSpPr>
          <p:nvPr/>
        </p:nvSpPr>
        <p:spPr>
          <a:xfrm>
            <a:off x="347246" y="5131522"/>
            <a:ext cx="10450800" cy="3888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333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sz="280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endParaRPr lang="en-US" sz="1000">
              <a:solidFill>
                <a:srgbClr val="006600"/>
              </a:solidFill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950DED5C-F3FD-C731-0F21-3276735DD435}"/>
              </a:ext>
            </a:extLst>
          </p:cNvPr>
          <p:cNvSpPr txBox="1">
            <a:spLocks/>
          </p:cNvSpPr>
          <p:nvPr/>
        </p:nvSpPr>
        <p:spPr>
          <a:xfrm>
            <a:off x="4817352" y="722775"/>
            <a:ext cx="1334496" cy="3888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333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sz="280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3BA1CA2D-A00B-B62C-A487-E756B5E2BDD3}"/>
              </a:ext>
            </a:extLst>
          </p:cNvPr>
          <p:cNvSpPr txBox="1">
            <a:spLocks/>
          </p:cNvSpPr>
          <p:nvPr/>
        </p:nvSpPr>
        <p:spPr>
          <a:xfrm>
            <a:off x="8280639" y="722775"/>
            <a:ext cx="1334496" cy="3163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333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sz="280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099E7A-7602-EF90-2951-2679B40A4DC9}"/>
              </a:ext>
            </a:extLst>
          </p:cNvPr>
          <p:cNvSpPr txBox="1">
            <a:spLocks/>
          </p:cNvSpPr>
          <p:nvPr/>
        </p:nvSpPr>
        <p:spPr>
          <a:xfrm>
            <a:off x="302930" y="2469114"/>
            <a:ext cx="5414017" cy="3888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333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sz="280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z="1800"/>
              <a:t>Notable Achievements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E73A4BBD-5C82-76D6-A905-0196A3B0942C}"/>
              </a:ext>
            </a:extLst>
          </p:cNvPr>
          <p:cNvSpPr/>
          <p:nvPr/>
        </p:nvSpPr>
        <p:spPr>
          <a:xfrm>
            <a:off x="547525" y="1650364"/>
            <a:ext cx="1682032" cy="297864"/>
          </a:xfrm>
          <a:custGeom>
            <a:avLst/>
            <a:gdLst>
              <a:gd name="connsiteX0" fmla="*/ 0 w 1908897"/>
              <a:gd name="connsiteY0" fmla="*/ 0 h 954465"/>
              <a:gd name="connsiteX1" fmla="*/ 0 w 1908897"/>
              <a:gd name="connsiteY1" fmla="*/ 677964 h 954465"/>
              <a:gd name="connsiteX2" fmla="*/ 276498 w 1908897"/>
              <a:gd name="connsiteY2" fmla="*/ 954465 h 954465"/>
              <a:gd name="connsiteX3" fmla="*/ 1632400 w 1908897"/>
              <a:gd name="connsiteY3" fmla="*/ 954465 h 954465"/>
              <a:gd name="connsiteX4" fmla="*/ 1908898 w 1908897"/>
              <a:gd name="connsiteY4" fmla="*/ 677964 h 954465"/>
              <a:gd name="connsiteX5" fmla="*/ 1908898 w 1908897"/>
              <a:gd name="connsiteY5" fmla="*/ 0 h 954465"/>
              <a:gd name="connsiteX6" fmla="*/ 0 w 1908897"/>
              <a:gd name="connsiteY6" fmla="*/ 0 h 954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8897" h="954465">
                <a:moveTo>
                  <a:pt x="0" y="0"/>
                </a:moveTo>
                <a:lnTo>
                  <a:pt x="0" y="677964"/>
                </a:lnTo>
                <a:cubicBezTo>
                  <a:pt x="0" y="830648"/>
                  <a:pt x="123791" y="954465"/>
                  <a:pt x="276498" y="954465"/>
                </a:cubicBezTo>
                <a:lnTo>
                  <a:pt x="1632400" y="954465"/>
                </a:lnTo>
                <a:cubicBezTo>
                  <a:pt x="1785103" y="954465"/>
                  <a:pt x="1908898" y="830648"/>
                  <a:pt x="1908898" y="677964"/>
                </a:cubicBezTo>
                <a:lnTo>
                  <a:pt x="1908898" y="0"/>
                </a:lnTo>
                <a:lnTo>
                  <a:pt x="0" y="0"/>
                </a:lnTo>
                <a:close/>
              </a:path>
            </a:pathLst>
          </a:custGeom>
          <a:solidFill>
            <a:srgbClr val="A80163"/>
          </a:solidFill>
          <a:ln w="328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A25B2B0-8A5A-2F57-4356-477883940D27}"/>
              </a:ext>
            </a:extLst>
          </p:cNvPr>
          <p:cNvSpPr txBox="1"/>
          <p:nvPr/>
        </p:nvSpPr>
        <p:spPr>
          <a:xfrm>
            <a:off x="259200" y="1039091"/>
            <a:ext cx="1569600" cy="6414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2362469-D172-A779-880D-0944EBC6B634}"/>
              </a:ext>
            </a:extLst>
          </p:cNvPr>
          <p:cNvSpPr txBox="1"/>
          <p:nvPr/>
        </p:nvSpPr>
        <p:spPr>
          <a:xfrm>
            <a:off x="79551" y="1029779"/>
            <a:ext cx="2424752" cy="7299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ctr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            </a:t>
            </a: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Requirement Elaboration</a:t>
            </a:r>
          </a:p>
          <a:p>
            <a:pPr marR="0" algn="ctr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800" kern="0">
                <a:solidFill>
                  <a:srgbClr val="000000"/>
                </a:solidFill>
              </a:rPr>
              <a:t>     Impact Analysis, Implicit Requirements, and Nonfunctional Requirements documented by developers before starting any PBI/Bug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7C4E4BDE-885F-ECAC-6350-9A3A33A6C693}"/>
              </a:ext>
            </a:extLst>
          </p:cNvPr>
          <p:cNvSpPr/>
          <p:nvPr/>
        </p:nvSpPr>
        <p:spPr>
          <a:xfrm>
            <a:off x="2688562" y="731327"/>
            <a:ext cx="1718682" cy="307764"/>
          </a:xfrm>
          <a:custGeom>
            <a:avLst/>
            <a:gdLst>
              <a:gd name="connsiteX0" fmla="*/ 1908894 w 1908894"/>
              <a:gd name="connsiteY0" fmla="*/ 954445 h 954445"/>
              <a:gd name="connsiteX1" fmla="*/ 1908894 w 1908894"/>
              <a:gd name="connsiteY1" fmla="*/ 276495 h 954445"/>
              <a:gd name="connsiteX2" fmla="*/ 1632393 w 1908894"/>
              <a:gd name="connsiteY2" fmla="*/ 0 h 954445"/>
              <a:gd name="connsiteX3" fmla="*/ 276495 w 1908894"/>
              <a:gd name="connsiteY3" fmla="*/ 0 h 954445"/>
              <a:gd name="connsiteX4" fmla="*/ 0 w 1908894"/>
              <a:gd name="connsiteY4" fmla="*/ 276495 h 954445"/>
              <a:gd name="connsiteX5" fmla="*/ 0 w 1908894"/>
              <a:gd name="connsiteY5" fmla="*/ 954445 h 954445"/>
              <a:gd name="connsiteX6" fmla="*/ 1908894 w 1908894"/>
              <a:gd name="connsiteY6" fmla="*/ 954445 h 954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8894" h="954445">
                <a:moveTo>
                  <a:pt x="1908894" y="954445"/>
                </a:moveTo>
                <a:lnTo>
                  <a:pt x="1908894" y="276495"/>
                </a:lnTo>
                <a:cubicBezTo>
                  <a:pt x="1908894" y="123791"/>
                  <a:pt x="1785110" y="0"/>
                  <a:pt x="1632393" y="0"/>
                </a:cubicBezTo>
                <a:lnTo>
                  <a:pt x="276495" y="0"/>
                </a:lnTo>
                <a:cubicBezTo>
                  <a:pt x="123791" y="0"/>
                  <a:pt x="0" y="123791"/>
                  <a:pt x="0" y="276495"/>
                </a:cubicBezTo>
                <a:lnTo>
                  <a:pt x="0" y="954445"/>
                </a:lnTo>
                <a:lnTo>
                  <a:pt x="1908894" y="954445"/>
                </a:lnTo>
                <a:close/>
              </a:path>
            </a:pathLst>
          </a:custGeom>
          <a:solidFill>
            <a:schemeClr val="accent2"/>
          </a:solidFill>
          <a:ln w="328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08C8902-9A1C-AAFB-FF11-C4B8294AD350}"/>
              </a:ext>
            </a:extLst>
          </p:cNvPr>
          <p:cNvSpPr txBox="1"/>
          <p:nvPr/>
        </p:nvSpPr>
        <p:spPr>
          <a:xfrm>
            <a:off x="2688562" y="1111575"/>
            <a:ext cx="1718682" cy="7083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ctr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Requirement Review</a:t>
            </a:r>
          </a:p>
          <a:p>
            <a:pPr marR="0" algn="ctr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900" kern="0">
                <a:solidFill>
                  <a:srgbClr val="000000"/>
                </a:solidFill>
              </a:rPr>
              <a:t>Detailed requirement review of every PBI by Architect</a:t>
            </a: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5D07A6D5-87D6-F6EE-D0F5-0FEAD936495E}"/>
              </a:ext>
            </a:extLst>
          </p:cNvPr>
          <p:cNvSpPr/>
          <p:nvPr/>
        </p:nvSpPr>
        <p:spPr>
          <a:xfrm>
            <a:off x="4687314" y="1617507"/>
            <a:ext cx="1682032" cy="297864"/>
          </a:xfrm>
          <a:custGeom>
            <a:avLst/>
            <a:gdLst>
              <a:gd name="connsiteX0" fmla="*/ 0 w 1908897"/>
              <a:gd name="connsiteY0" fmla="*/ 0 h 954465"/>
              <a:gd name="connsiteX1" fmla="*/ 0 w 1908897"/>
              <a:gd name="connsiteY1" fmla="*/ 677964 h 954465"/>
              <a:gd name="connsiteX2" fmla="*/ 276498 w 1908897"/>
              <a:gd name="connsiteY2" fmla="*/ 954465 h 954465"/>
              <a:gd name="connsiteX3" fmla="*/ 1632400 w 1908897"/>
              <a:gd name="connsiteY3" fmla="*/ 954465 h 954465"/>
              <a:gd name="connsiteX4" fmla="*/ 1908898 w 1908897"/>
              <a:gd name="connsiteY4" fmla="*/ 677964 h 954465"/>
              <a:gd name="connsiteX5" fmla="*/ 1908898 w 1908897"/>
              <a:gd name="connsiteY5" fmla="*/ 0 h 954465"/>
              <a:gd name="connsiteX6" fmla="*/ 0 w 1908897"/>
              <a:gd name="connsiteY6" fmla="*/ 0 h 954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8897" h="954465">
                <a:moveTo>
                  <a:pt x="0" y="0"/>
                </a:moveTo>
                <a:lnTo>
                  <a:pt x="0" y="677964"/>
                </a:lnTo>
                <a:cubicBezTo>
                  <a:pt x="0" y="830648"/>
                  <a:pt x="123791" y="954465"/>
                  <a:pt x="276498" y="954465"/>
                </a:cubicBezTo>
                <a:lnTo>
                  <a:pt x="1632400" y="954465"/>
                </a:lnTo>
                <a:cubicBezTo>
                  <a:pt x="1785103" y="954465"/>
                  <a:pt x="1908898" y="830648"/>
                  <a:pt x="1908898" y="677964"/>
                </a:cubicBezTo>
                <a:lnTo>
                  <a:pt x="1908898" y="0"/>
                </a:lnTo>
                <a:lnTo>
                  <a:pt x="0" y="0"/>
                </a:lnTo>
                <a:close/>
              </a:path>
            </a:pathLst>
          </a:custGeom>
          <a:solidFill>
            <a:srgbClr val="A80163"/>
          </a:solidFill>
          <a:ln w="328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D0F876C-613D-C275-B226-8CFF044D3EF7}"/>
              </a:ext>
            </a:extLst>
          </p:cNvPr>
          <p:cNvSpPr txBox="1"/>
          <p:nvPr/>
        </p:nvSpPr>
        <p:spPr>
          <a:xfrm>
            <a:off x="4627882" y="895044"/>
            <a:ext cx="2092140" cy="7083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                   Test Coverage</a:t>
            </a:r>
          </a:p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tabLst/>
            </a:pPr>
            <a:r>
              <a:rPr lang="en-US" sz="800" kern="0">
                <a:solidFill>
                  <a:srgbClr val="000000"/>
                </a:solidFill>
              </a:rPr>
              <a:t>Improved Test Coverage by writing detailed test cases reports covering negative scenarios</a:t>
            </a:r>
          </a:p>
          <a:p>
            <a:pPr marL="171450" marR="0" indent="-17145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9CA52C9B-C054-BA0C-7A70-579ADF7D08BE}"/>
              </a:ext>
            </a:extLst>
          </p:cNvPr>
          <p:cNvSpPr/>
          <p:nvPr/>
        </p:nvSpPr>
        <p:spPr>
          <a:xfrm>
            <a:off x="6677287" y="761968"/>
            <a:ext cx="1718682" cy="307764"/>
          </a:xfrm>
          <a:custGeom>
            <a:avLst/>
            <a:gdLst>
              <a:gd name="connsiteX0" fmla="*/ 1908894 w 1908894"/>
              <a:gd name="connsiteY0" fmla="*/ 954445 h 954445"/>
              <a:gd name="connsiteX1" fmla="*/ 1908894 w 1908894"/>
              <a:gd name="connsiteY1" fmla="*/ 276495 h 954445"/>
              <a:gd name="connsiteX2" fmla="*/ 1632393 w 1908894"/>
              <a:gd name="connsiteY2" fmla="*/ 0 h 954445"/>
              <a:gd name="connsiteX3" fmla="*/ 276495 w 1908894"/>
              <a:gd name="connsiteY3" fmla="*/ 0 h 954445"/>
              <a:gd name="connsiteX4" fmla="*/ 0 w 1908894"/>
              <a:gd name="connsiteY4" fmla="*/ 276495 h 954445"/>
              <a:gd name="connsiteX5" fmla="*/ 0 w 1908894"/>
              <a:gd name="connsiteY5" fmla="*/ 954445 h 954445"/>
              <a:gd name="connsiteX6" fmla="*/ 1908894 w 1908894"/>
              <a:gd name="connsiteY6" fmla="*/ 954445 h 954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8894" h="954445">
                <a:moveTo>
                  <a:pt x="1908894" y="954445"/>
                </a:moveTo>
                <a:lnTo>
                  <a:pt x="1908894" y="276495"/>
                </a:lnTo>
                <a:cubicBezTo>
                  <a:pt x="1908894" y="123791"/>
                  <a:pt x="1785110" y="0"/>
                  <a:pt x="1632393" y="0"/>
                </a:cubicBezTo>
                <a:lnTo>
                  <a:pt x="276495" y="0"/>
                </a:lnTo>
                <a:cubicBezTo>
                  <a:pt x="123791" y="0"/>
                  <a:pt x="0" y="123791"/>
                  <a:pt x="0" y="276495"/>
                </a:cubicBezTo>
                <a:lnTo>
                  <a:pt x="0" y="954445"/>
                </a:lnTo>
                <a:lnTo>
                  <a:pt x="1908894" y="954445"/>
                </a:lnTo>
                <a:close/>
              </a:path>
            </a:pathLst>
          </a:custGeom>
          <a:solidFill>
            <a:schemeClr val="accent2"/>
          </a:solidFill>
          <a:ln w="328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4C51919-74F1-60FA-3D8F-C482F614F3A6}"/>
              </a:ext>
            </a:extLst>
          </p:cNvPr>
          <p:cNvSpPr txBox="1"/>
          <p:nvPr/>
        </p:nvSpPr>
        <p:spPr>
          <a:xfrm>
            <a:off x="6940660" y="1108925"/>
            <a:ext cx="1718682" cy="720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de Review Optimiza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3C85F4E-DBF4-5F5E-4BDD-B34B291CB4FF}"/>
              </a:ext>
            </a:extLst>
          </p:cNvPr>
          <p:cNvSpPr txBox="1"/>
          <p:nvPr/>
        </p:nvSpPr>
        <p:spPr>
          <a:xfrm>
            <a:off x="6808719" y="1292522"/>
            <a:ext cx="1498552" cy="5398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mpactful Code review checklist integrated in PR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E16C5127-7AEB-29DA-50C6-DB0C53568A9B}"/>
              </a:ext>
            </a:extLst>
          </p:cNvPr>
          <p:cNvGrpSpPr/>
          <p:nvPr/>
        </p:nvGrpSpPr>
        <p:grpSpPr>
          <a:xfrm>
            <a:off x="182674" y="2942246"/>
            <a:ext cx="5070180" cy="740905"/>
            <a:chOff x="502258" y="1457273"/>
            <a:chExt cx="5070180" cy="740905"/>
          </a:xfrm>
          <a:effectLst>
            <a:glow rad="63500">
              <a:schemeClr val="accent3">
                <a:satMod val="175000"/>
                <a:alpha val="40000"/>
              </a:schemeClr>
            </a:glow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8" name="Google Shape;658;p30">
              <a:extLst>
                <a:ext uri="{FF2B5EF4-FFF2-40B4-BE49-F238E27FC236}">
                  <a16:creationId xmlns:a16="http://schemas.microsoft.com/office/drawing/2014/main" id="{821A8F51-FBFB-6239-1216-BE42893A52F0}"/>
                </a:ext>
              </a:extLst>
            </p:cNvPr>
            <p:cNvSpPr/>
            <p:nvPr/>
          </p:nvSpPr>
          <p:spPr>
            <a:xfrm>
              <a:off x="502258" y="1457325"/>
              <a:ext cx="5070180" cy="740853"/>
            </a:xfrm>
            <a:custGeom>
              <a:avLst/>
              <a:gdLst/>
              <a:ahLst/>
              <a:cxnLst/>
              <a:rect l="l" t="t" r="r" b="b"/>
              <a:pathLst>
                <a:path w="18051" h="3380" extrusionOk="0">
                  <a:moveTo>
                    <a:pt x="0" y="0"/>
                  </a:moveTo>
                  <a:lnTo>
                    <a:pt x="0" y="3379"/>
                  </a:lnTo>
                  <a:lnTo>
                    <a:pt x="16361" y="3379"/>
                  </a:lnTo>
                  <a:cubicBezTo>
                    <a:pt x="17287" y="3379"/>
                    <a:pt x="18050" y="2622"/>
                    <a:pt x="18050" y="1690"/>
                  </a:cubicBezTo>
                  <a:cubicBezTo>
                    <a:pt x="18050" y="764"/>
                    <a:pt x="17287" y="0"/>
                    <a:pt x="16361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Google Shape;659;p30">
              <a:extLst>
                <a:ext uri="{FF2B5EF4-FFF2-40B4-BE49-F238E27FC236}">
                  <a16:creationId xmlns:a16="http://schemas.microsoft.com/office/drawing/2014/main" id="{B3674F93-4374-5A0E-6FC3-BC19D5E55C78}"/>
                </a:ext>
              </a:extLst>
            </p:cNvPr>
            <p:cNvSpPr/>
            <p:nvPr/>
          </p:nvSpPr>
          <p:spPr>
            <a:xfrm>
              <a:off x="704695" y="1457273"/>
              <a:ext cx="1253298" cy="740728"/>
            </a:xfrm>
            <a:prstGeom prst="homePlate">
              <a:avLst>
                <a:gd name="adj" fmla="val 36488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Google Shape;660;p30">
              <a:extLst>
                <a:ext uri="{FF2B5EF4-FFF2-40B4-BE49-F238E27FC236}">
                  <a16:creationId xmlns:a16="http://schemas.microsoft.com/office/drawing/2014/main" id="{D6E40327-7F99-B63A-9C2B-160825AF8927}"/>
                </a:ext>
              </a:extLst>
            </p:cNvPr>
            <p:cNvSpPr/>
            <p:nvPr/>
          </p:nvSpPr>
          <p:spPr>
            <a:xfrm>
              <a:off x="502300" y="1457273"/>
              <a:ext cx="1253298" cy="740728"/>
            </a:xfrm>
            <a:prstGeom prst="homePlate">
              <a:avLst>
                <a:gd name="adj" fmla="val 36488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E344FCCC-088E-5530-8231-B65109B6B9AF}"/>
                </a:ext>
              </a:extLst>
            </p:cNvPr>
            <p:cNvSpPr txBox="1"/>
            <p:nvPr/>
          </p:nvSpPr>
          <p:spPr>
            <a:xfrm>
              <a:off x="1934708" y="1602314"/>
              <a:ext cx="3412752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osch Office Sans" pitchFamily="2" charset="0"/>
                  <a:ea typeface="+mn-ea"/>
                  <a:cs typeface="+mn-cs"/>
                </a:rPr>
                <a:t>Pull Request Review Checklist Integration</a:t>
              </a:r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C4F8C518-9523-96F4-0C95-42A15415D58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16441" y="1563664"/>
              <a:ext cx="584478" cy="457532"/>
            </a:xfrm>
            <a:prstGeom prst="rect">
              <a:avLst/>
            </a:prstGeom>
          </p:spPr>
        </p:pic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C562CB55-2E4C-4269-D239-CE112518A231}"/>
              </a:ext>
            </a:extLst>
          </p:cNvPr>
          <p:cNvGrpSpPr/>
          <p:nvPr/>
        </p:nvGrpSpPr>
        <p:grpSpPr>
          <a:xfrm>
            <a:off x="2729821" y="4020193"/>
            <a:ext cx="5070180" cy="774286"/>
            <a:chOff x="3416913" y="4664489"/>
            <a:chExt cx="5070180" cy="774286"/>
          </a:xfrm>
          <a:effectLst>
            <a:glow rad="63500">
              <a:schemeClr val="accent3">
                <a:satMod val="175000"/>
                <a:alpha val="40000"/>
              </a:schemeClr>
            </a:glow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4" name="Google Shape;679;p30">
              <a:extLst>
                <a:ext uri="{FF2B5EF4-FFF2-40B4-BE49-F238E27FC236}">
                  <a16:creationId xmlns:a16="http://schemas.microsoft.com/office/drawing/2014/main" id="{8C84073E-8E61-FE23-ECE9-5FDC3CF16563}"/>
                </a:ext>
              </a:extLst>
            </p:cNvPr>
            <p:cNvSpPr/>
            <p:nvPr/>
          </p:nvSpPr>
          <p:spPr>
            <a:xfrm>
              <a:off x="3416913" y="4697922"/>
              <a:ext cx="5070180" cy="740853"/>
            </a:xfrm>
            <a:custGeom>
              <a:avLst/>
              <a:gdLst/>
              <a:ahLst/>
              <a:cxnLst/>
              <a:rect l="l" t="t" r="r" b="b"/>
              <a:pathLst>
                <a:path w="18051" h="3380" extrusionOk="0">
                  <a:moveTo>
                    <a:pt x="0" y="0"/>
                  </a:moveTo>
                  <a:lnTo>
                    <a:pt x="0" y="3379"/>
                  </a:lnTo>
                  <a:lnTo>
                    <a:pt x="16361" y="3379"/>
                  </a:lnTo>
                  <a:cubicBezTo>
                    <a:pt x="17287" y="3379"/>
                    <a:pt x="18050" y="2622"/>
                    <a:pt x="18050" y="1690"/>
                  </a:cubicBezTo>
                  <a:cubicBezTo>
                    <a:pt x="18050" y="764"/>
                    <a:pt x="17287" y="0"/>
                    <a:pt x="16361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Google Shape;680;p30">
              <a:extLst>
                <a:ext uri="{FF2B5EF4-FFF2-40B4-BE49-F238E27FC236}">
                  <a16:creationId xmlns:a16="http://schemas.microsoft.com/office/drawing/2014/main" id="{A0B07DAE-198A-B352-6D5A-6831B77977D6}"/>
                </a:ext>
              </a:extLst>
            </p:cNvPr>
            <p:cNvSpPr/>
            <p:nvPr/>
          </p:nvSpPr>
          <p:spPr>
            <a:xfrm>
              <a:off x="3619352" y="4697852"/>
              <a:ext cx="1253298" cy="740728"/>
            </a:xfrm>
            <a:prstGeom prst="homePlate">
              <a:avLst>
                <a:gd name="adj" fmla="val 36488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Google Shape;681;p30">
              <a:extLst>
                <a:ext uri="{FF2B5EF4-FFF2-40B4-BE49-F238E27FC236}">
                  <a16:creationId xmlns:a16="http://schemas.microsoft.com/office/drawing/2014/main" id="{6F504BD6-F034-D64D-DDAC-2EF52EEF5CA8}"/>
                </a:ext>
              </a:extLst>
            </p:cNvPr>
            <p:cNvSpPr/>
            <p:nvPr/>
          </p:nvSpPr>
          <p:spPr>
            <a:xfrm>
              <a:off x="3416950" y="4664489"/>
              <a:ext cx="1253298" cy="774091"/>
            </a:xfrm>
            <a:prstGeom prst="homePlate">
              <a:avLst>
                <a:gd name="adj" fmla="val 36488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4D4EE9A3-CFBC-6597-8972-229254828F23}"/>
                </a:ext>
              </a:extLst>
            </p:cNvPr>
            <p:cNvSpPr txBox="1"/>
            <p:nvPr/>
          </p:nvSpPr>
          <p:spPr>
            <a:xfrm>
              <a:off x="4954254" y="4838516"/>
              <a:ext cx="3237377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>
                  <a:solidFill>
                    <a:prstClr val="black"/>
                  </a:solidFill>
                  <a:latin typeface="Bosch Office Sans" pitchFamily="2" charset="0"/>
                </a:rPr>
                <a:t>Swagger Integration for documentation of all API’s</a:t>
              </a: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5C742585-A661-38E9-3454-53D226461DFE}"/>
                </a:ext>
              </a:extLst>
            </p:cNvPr>
            <p:cNvGrpSpPr/>
            <p:nvPr/>
          </p:nvGrpSpPr>
          <p:grpSpPr>
            <a:xfrm>
              <a:off x="3711621" y="4828499"/>
              <a:ext cx="570852" cy="479433"/>
              <a:chOff x="10944873" y="4789970"/>
              <a:chExt cx="439305" cy="420819"/>
            </a:xfrm>
          </p:grpSpPr>
          <p:sp>
            <p:nvSpPr>
              <p:cNvPr id="39" name="Google Shape;12533;p89">
                <a:extLst>
                  <a:ext uri="{FF2B5EF4-FFF2-40B4-BE49-F238E27FC236}">
                    <a16:creationId xmlns:a16="http://schemas.microsoft.com/office/drawing/2014/main" id="{91DE4294-366C-0AF3-BA34-93C732D6EC44}"/>
                  </a:ext>
                </a:extLst>
              </p:cNvPr>
              <p:cNvSpPr/>
              <p:nvPr/>
            </p:nvSpPr>
            <p:spPr>
              <a:xfrm>
                <a:off x="10944873" y="4789970"/>
                <a:ext cx="439305" cy="420819"/>
              </a:xfrm>
              <a:custGeom>
                <a:avLst/>
                <a:gdLst/>
                <a:ahLst/>
                <a:cxnLst/>
                <a:rect l="l" t="t" r="r" b="b"/>
                <a:pathLst>
                  <a:path w="11721" h="11658" extrusionOk="0">
                    <a:moveTo>
                      <a:pt x="2395" y="725"/>
                    </a:moveTo>
                    <a:cubicBezTo>
                      <a:pt x="2930" y="725"/>
                      <a:pt x="3403" y="1197"/>
                      <a:pt x="3403" y="1733"/>
                    </a:cubicBezTo>
                    <a:cubicBezTo>
                      <a:pt x="3403" y="2300"/>
                      <a:pt x="2930" y="2773"/>
                      <a:pt x="2395" y="2773"/>
                    </a:cubicBezTo>
                    <a:cubicBezTo>
                      <a:pt x="1828" y="2773"/>
                      <a:pt x="1355" y="2300"/>
                      <a:pt x="1355" y="1733"/>
                    </a:cubicBezTo>
                    <a:cubicBezTo>
                      <a:pt x="1355" y="1197"/>
                      <a:pt x="1828" y="725"/>
                      <a:pt x="2395" y="725"/>
                    </a:cubicBezTo>
                    <a:close/>
                    <a:moveTo>
                      <a:pt x="10303" y="725"/>
                    </a:moveTo>
                    <a:lnTo>
                      <a:pt x="10303" y="6585"/>
                    </a:lnTo>
                    <a:lnTo>
                      <a:pt x="10334" y="6585"/>
                    </a:lnTo>
                    <a:cubicBezTo>
                      <a:pt x="10334" y="6774"/>
                      <a:pt x="10177" y="6931"/>
                      <a:pt x="9988" y="6931"/>
                    </a:cubicBezTo>
                    <a:lnTo>
                      <a:pt x="4789" y="6931"/>
                    </a:lnTo>
                    <a:lnTo>
                      <a:pt x="4789" y="5167"/>
                    </a:lnTo>
                    <a:cubicBezTo>
                      <a:pt x="4789" y="4253"/>
                      <a:pt x="4285" y="3434"/>
                      <a:pt x="3498" y="3025"/>
                    </a:cubicBezTo>
                    <a:cubicBezTo>
                      <a:pt x="3844" y="2710"/>
                      <a:pt x="4096" y="2237"/>
                      <a:pt x="4096" y="1733"/>
                    </a:cubicBezTo>
                    <a:cubicBezTo>
                      <a:pt x="4096" y="1355"/>
                      <a:pt x="3970" y="977"/>
                      <a:pt x="3718" y="725"/>
                    </a:cubicBezTo>
                    <a:close/>
                    <a:moveTo>
                      <a:pt x="2710" y="3466"/>
                    </a:moveTo>
                    <a:cubicBezTo>
                      <a:pt x="3498" y="3623"/>
                      <a:pt x="4096" y="4316"/>
                      <a:pt x="4096" y="5167"/>
                    </a:cubicBezTo>
                    <a:lnTo>
                      <a:pt x="4096" y="7246"/>
                    </a:lnTo>
                    <a:cubicBezTo>
                      <a:pt x="4128" y="7435"/>
                      <a:pt x="3970" y="7593"/>
                      <a:pt x="3750" y="7593"/>
                    </a:cubicBezTo>
                    <a:cubicBezTo>
                      <a:pt x="3561" y="7593"/>
                      <a:pt x="3403" y="7750"/>
                      <a:pt x="3403" y="7971"/>
                    </a:cubicBezTo>
                    <a:lnTo>
                      <a:pt x="3403" y="10712"/>
                    </a:lnTo>
                    <a:cubicBezTo>
                      <a:pt x="3403" y="10901"/>
                      <a:pt x="3246" y="11058"/>
                      <a:pt x="3056" y="11058"/>
                    </a:cubicBezTo>
                    <a:lnTo>
                      <a:pt x="1670" y="11058"/>
                    </a:lnTo>
                    <a:cubicBezTo>
                      <a:pt x="1481" y="11058"/>
                      <a:pt x="1324" y="10901"/>
                      <a:pt x="1324" y="10712"/>
                    </a:cubicBezTo>
                    <a:lnTo>
                      <a:pt x="1324" y="7971"/>
                    </a:lnTo>
                    <a:cubicBezTo>
                      <a:pt x="1324" y="7750"/>
                      <a:pt x="1166" y="7593"/>
                      <a:pt x="977" y="7593"/>
                    </a:cubicBezTo>
                    <a:cubicBezTo>
                      <a:pt x="788" y="7593"/>
                      <a:pt x="631" y="7435"/>
                      <a:pt x="631" y="7246"/>
                    </a:cubicBezTo>
                    <a:lnTo>
                      <a:pt x="631" y="5167"/>
                    </a:lnTo>
                    <a:cubicBezTo>
                      <a:pt x="631" y="4316"/>
                      <a:pt x="1198" y="3623"/>
                      <a:pt x="1985" y="3466"/>
                    </a:cubicBezTo>
                    <a:lnTo>
                      <a:pt x="1985" y="5829"/>
                    </a:lnTo>
                    <a:cubicBezTo>
                      <a:pt x="1985" y="6018"/>
                      <a:pt x="2143" y="6175"/>
                      <a:pt x="2363" y="6175"/>
                    </a:cubicBezTo>
                    <a:cubicBezTo>
                      <a:pt x="2552" y="6175"/>
                      <a:pt x="2710" y="6018"/>
                      <a:pt x="2710" y="5829"/>
                    </a:cubicBezTo>
                    <a:lnTo>
                      <a:pt x="2710" y="3466"/>
                    </a:lnTo>
                    <a:close/>
                    <a:moveTo>
                      <a:pt x="2395" y="0"/>
                    </a:moveTo>
                    <a:cubicBezTo>
                      <a:pt x="1450" y="0"/>
                      <a:pt x="694" y="756"/>
                      <a:pt x="694" y="1702"/>
                    </a:cubicBezTo>
                    <a:cubicBezTo>
                      <a:pt x="694" y="2206"/>
                      <a:pt x="946" y="2678"/>
                      <a:pt x="1292" y="2993"/>
                    </a:cubicBezTo>
                    <a:cubicBezTo>
                      <a:pt x="536" y="3403"/>
                      <a:pt x="1" y="4222"/>
                      <a:pt x="1" y="5136"/>
                    </a:cubicBezTo>
                    <a:lnTo>
                      <a:pt x="1" y="7215"/>
                    </a:lnTo>
                    <a:cubicBezTo>
                      <a:pt x="1" y="7656"/>
                      <a:pt x="253" y="8034"/>
                      <a:pt x="662" y="8192"/>
                    </a:cubicBezTo>
                    <a:lnTo>
                      <a:pt x="662" y="10649"/>
                    </a:lnTo>
                    <a:cubicBezTo>
                      <a:pt x="662" y="11184"/>
                      <a:pt x="1135" y="11657"/>
                      <a:pt x="1670" y="11657"/>
                    </a:cubicBezTo>
                    <a:lnTo>
                      <a:pt x="3056" y="11657"/>
                    </a:lnTo>
                    <a:cubicBezTo>
                      <a:pt x="3624" y="11657"/>
                      <a:pt x="4096" y="11184"/>
                      <a:pt x="4096" y="10649"/>
                    </a:cubicBezTo>
                    <a:lnTo>
                      <a:pt x="4096" y="8192"/>
                    </a:lnTo>
                    <a:cubicBezTo>
                      <a:pt x="4348" y="8065"/>
                      <a:pt x="4600" y="7876"/>
                      <a:pt x="4726" y="7561"/>
                    </a:cubicBezTo>
                    <a:lnTo>
                      <a:pt x="9988" y="7561"/>
                    </a:lnTo>
                    <a:cubicBezTo>
                      <a:pt x="10555" y="7561"/>
                      <a:pt x="11027" y="7089"/>
                      <a:pt x="11027" y="6553"/>
                    </a:cubicBezTo>
                    <a:lnTo>
                      <a:pt x="11027" y="662"/>
                    </a:lnTo>
                    <a:lnTo>
                      <a:pt x="11374" y="662"/>
                    </a:lnTo>
                    <a:cubicBezTo>
                      <a:pt x="11563" y="662"/>
                      <a:pt x="11720" y="504"/>
                      <a:pt x="11720" y="315"/>
                    </a:cubicBezTo>
                    <a:cubicBezTo>
                      <a:pt x="11720" y="158"/>
                      <a:pt x="11563" y="0"/>
                      <a:pt x="1137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"/>
                  <a:ea typeface="+mn-ea"/>
                  <a:cs typeface="Arial"/>
                </a:endParaRPr>
              </a:p>
            </p:txBody>
          </p:sp>
          <p:sp>
            <p:nvSpPr>
              <p:cNvPr id="40" name="Google Shape;12534;p89">
                <a:extLst>
                  <a:ext uri="{FF2B5EF4-FFF2-40B4-BE49-F238E27FC236}">
                    <a16:creationId xmlns:a16="http://schemas.microsoft.com/office/drawing/2014/main" id="{9BD006B5-1E7D-8EF4-A45F-25EB25FB9C2F}"/>
                  </a:ext>
                </a:extLst>
              </p:cNvPr>
              <p:cNvSpPr/>
              <p:nvPr/>
            </p:nvSpPr>
            <p:spPr>
              <a:xfrm>
                <a:off x="11178331" y="4843268"/>
                <a:ext cx="108439" cy="149191"/>
              </a:xfrm>
              <a:custGeom>
                <a:avLst/>
                <a:gdLst/>
                <a:ahLst/>
                <a:cxnLst/>
                <a:rect l="l" t="t" r="r" b="b"/>
                <a:pathLst>
                  <a:path w="4097" h="4097" extrusionOk="0">
                    <a:moveTo>
                      <a:pt x="2395" y="725"/>
                    </a:moveTo>
                    <a:cubicBezTo>
                      <a:pt x="2867" y="851"/>
                      <a:pt x="3245" y="1229"/>
                      <a:pt x="3371" y="1733"/>
                    </a:cubicBezTo>
                    <a:lnTo>
                      <a:pt x="2395" y="1733"/>
                    </a:lnTo>
                    <a:lnTo>
                      <a:pt x="2395" y="725"/>
                    </a:lnTo>
                    <a:close/>
                    <a:moveTo>
                      <a:pt x="1733" y="757"/>
                    </a:moveTo>
                    <a:lnTo>
                      <a:pt x="1733" y="2080"/>
                    </a:lnTo>
                    <a:cubicBezTo>
                      <a:pt x="1733" y="2269"/>
                      <a:pt x="1891" y="2426"/>
                      <a:pt x="2080" y="2426"/>
                    </a:cubicBezTo>
                    <a:lnTo>
                      <a:pt x="3403" y="2426"/>
                    </a:lnTo>
                    <a:cubicBezTo>
                      <a:pt x="3245" y="3025"/>
                      <a:pt x="2741" y="3466"/>
                      <a:pt x="2080" y="3466"/>
                    </a:cubicBezTo>
                    <a:cubicBezTo>
                      <a:pt x="1324" y="3466"/>
                      <a:pt x="693" y="2836"/>
                      <a:pt x="693" y="2080"/>
                    </a:cubicBezTo>
                    <a:cubicBezTo>
                      <a:pt x="693" y="1418"/>
                      <a:pt x="1135" y="851"/>
                      <a:pt x="1733" y="757"/>
                    </a:cubicBezTo>
                    <a:close/>
                    <a:moveTo>
                      <a:pt x="2048" y="0"/>
                    </a:moveTo>
                    <a:cubicBezTo>
                      <a:pt x="883" y="0"/>
                      <a:pt x="0" y="914"/>
                      <a:pt x="0" y="2048"/>
                    </a:cubicBezTo>
                    <a:cubicBezTo>
                      <a:pt x="0" y="3182"/>
                      <a:pt x="946" y="4096"/>
                      <a:pt x="2048" y="4096"/>
                    </a:cubicBezTo>
                    <a:cubicBezTo>
                      <a:pt x="3182" y="4096"/>
                      <a:pt x="4096" y="3182"/>
                      <a:pt x="4096" y="2048"/>
                    </a:cubicBezTo>
                    <a:cubicBezTo>
                      <a:pt x="4096" y="914"/>
                      <a:pt x="3182" y="0"/>
                      <a:pt x="204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"/>
                  <a:ea typeface="+mn-ea"/>
                  <a:cs typeface="Arial"/>
                </a:endParaRPr>
              </a:p>
            </p:txBody>
          </p:sp>
        </p:grp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AE26A5DA-01D8-909B-49B7-81B36ABD436E}"/>
              </a:ext>
            </a:extLst>
          </p:cNvPr>
          <p:cNvGrpSpPr/>
          <p:nvPr/>
        </p:nvGrpSpPr>
        <p:grpSpPr>
          <a:xfrm>
            <a:off x="5499451" y="2891533"/>
            <a:ext cx="5070180" cy="741802"/>
            <a:chOff x="6522314" y="3085074"/>
            <a:chExt cx="5070180" cy="741802"/>
          </a:xfrm>
          <a:effectLst>
            <a:glow rad="63500">
              <a:schemeClr val="accent3">
                <a:satMod val="175000"/>
                <a:alpha val="40000"/>
              </a:schemeClr>
            </a:glow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51" name="Google Shape;687;p30">
              <a:extLst>
                <a:ext uri="{FF2B5EF4-FFF2-40B4-BE49-F238E27FC236}">
                  <a16:creationId xmlns:a16="http://schemas.microsoft.com/office/drawing/2014/main" id="{4EEB45D4-BF1B-D5BE-51C9-226FAF0248FC}"/>
                </a:ext>
              </a:extLst>
            </p:cNvPr>
            <p:cNvSpPr/>
            <p:nvPr/>
          </p:nvSpPr>
          <p:spPr>
            <a:xfrm>
              <a:off x="6522314" y="3085074"/>
              <a:ext cx="5070180" cy="740853"/>
            </a:xfrm>
            <a:custGeom>
              <a:avLst/>
              <a:gdLst/>
              <a:ahLst/>
              <a:cxnLst/>
              <a:rect l="l" t="t" r="r" b="b"/>
              <a:pathLst>
                <a:path w="18051" h="3380" extrusionOk="0">
                  <a:moveTo>
                    <a:pt x="0" y="0"/>
                  </a:moveTo>
                  <a:lnTo>
                    <a:pt x="0" y="3379"/>
                  </a:lnTo>
                  <a:lnTo>
                    <a:pt x="16361" y="3379"/>
                  </a:lnTo>
                  <a:cubicBezTo>
                    <a:pt x="17287" y="3379"/>
                    <a:pt x="18050" y="2622"/>
                    <a:pt x="18050" y="1690"/>
                  </a:cubicBezTo>
                  <a:cubicBezTo>
                    <a:pt x="18050" y="764"/>
                    <a:pt x="17287" y="0"/>
                    <a:pt x="16361" y="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DF98EF95-F459-D8E9-E1FE-63A0FA040E37}"/>
                </a:ext>
              </a:extLst>
            </p:cNvPr>
            <p:cNvSpPr txBox="1"/>
            <p:nvPr/>
          </p:nvSpPr>
          <p:spPr>
            <a:xfrm>
              <a:off x="8156527" y="3150757"/>
              <a:ext cx="3007441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osch Office Sans" pitchFamily="2" charset="0"/>
                  <a:ea typeface="+mn-ea"/>
                  <a:cs typeface="+mn-cs"/>
                </a:rPr>
                <a:t>Test Automation Coverage</a:t>
              </a:r>
            </a:p>
          </p:txBody>
        </p:sp>
        <p:sp>
          <p:nvSpPr>
            <p:cNvPr id="53" name="Google Shape;659;p30">
              <a:extLst>
                <a:ext uri="{FF2B5EF4-FFF2-40B4-BE49-F238E27FC236}">
                  <a16:creationId xmlns:a16="http://schemas.microsoft.com/office/drawing/2014/main" id="{13813C9D-94EC-0A4E-291C-497D7718A401}"/>
                </a:ext>
              </a:extLst>
            </p:cNvPr>
            <p:cNvSpPr/>
            <p:nvPr/>
          </p:nvSpPr>
          <p:spPr>
            <a:xfrm>
              <a:off x="6724709" y="3086148"/>
              <a:ext cx="1253298" cy="740728"/>
            </a:xfrm>
            <a:prstGeom prst="homePlate">
              <a:avLst>
                <a:gd name="adj" fmla="val 36488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Google Shape;660;p30">
              <a:extLst>
                <a:ext uri="{FF2B5EF4-FFF2-40B4-BE49-F238E27FC236}">
                  <a16:creationId xmlns:a16="http://schemas.microsoft.com/office/drawing/2014/main" id="{2C0D2D25-D442-A7CD-4F3D-84CCD46870C0}"/>
                </a:ext>
              </a:extLst>
            </p:cNvPr>
            <p:cNvSpPr/>
            <p:nvPr/>
          </p:nvSpPr>
          <p:spPr>
            <a:xfrm>
              <a:off x="6522314" y="3086148"/>
              <a:ext cx="1253298" cy="740728"/>
            </a:xfrm>
            <a:prstGeom prst="homePlate">
              <a:avLst>
                <a:gd name="adj" fmla="val 36488"/>
              </a:avLst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1A3B8BA9-1800-76FC-23BA-38B799773FCC}"/>
                </a:ext>
              </a:extLst>
            </p:cNvPr>
            <p:cNvGrpSpPr/>
            <p:nvPr/>
          </p:nvGrpSpPr>
          <p:grpSpPr>
            <a:xfrm>
              <a:off x="6744958" y="3179463"/>
              <a:ext cx="546663" cy="549056"/>
              <a:chOff x="6983557" y="2336226"/>
              <a:chExt cx="644752" cy="641288"/>
            </a:xfrm>
          </p:grpSpPr>
          <p:sp>
            <p:nvSpPr>
              <p:cNvPr id="56" name="Google Shape;12607;p89">
                <a:extLst>
                  <a:ext uri="{FF2B5EF4-FFF2-40B4-BE49-F238E27FC236}">
                    <a16:creationId xmlns:a16="http://schemas.microsoft.com/office/drawing/2014/main" id="{B2CB959B-D499-CC50-B658-BCE9F66A09B0}"/>
                  </a:ext>
                </a:extLst>
              </p:cNvPr>
              <p:cNvSpPr/>
              <p:nvPr/>
            </p:nvSpPr>
            <p:spPr>
              <a:xfrm flipH="1">
                <a:off x="7277567" y="2425492"/>
                <a:ext cx="239019" cy="246751"/>
              </a:xfrm>
              <a:custGeom>
                <a:avLst/>
                <a:gdLst/>
                <a:ahLst/>
                <a:cxnLst/>
                <a:rect l="l" t="t" r="r" b="b"/>
                <a:pathLst>
                  <a:path w="10510" h="10427" extrusionOk="0">
                    <a:moveTo>
                      <a:pt x="5269" y="1924"/>
                    </a:moveTo>
                    <a:cubicBezTo>
                      <a:pt x="6022" y="1924"/>
                      <a:pt x="6635" y="2454"/>
                      <a:pt x="6774" y="3151"/>
                    </a:cubicBezTo>
                    <a:lnTo>
                      <a:pt x="3791" y="3151"/>
                    </a:lnTo>
                    <a:cubicBezTo>
                      <a:pt x="3931" y="2454"/>
                      <a:pt x="4544" y="1924"/>
                      <a:pt x="5269" y="1924"/>
                    </a:cubicBezTo>
                    <a:close/>
                    <a:moveTo>
                      <a:pt x="4962" y="3764"/>
                    </a:moveTo>
                    <a:lnTo>
                      <a:pt x="4962" y="9785"/>
                    </a:lnTo>
                    <a:cubicBezTo>
                      <a:pt x="3959" y="9646"/>
                      <a:pt x="3150" y="8754"/>
                      <a:pt x="3150" y="7694"/>
                    </a:cubicBezTo>
                    <a:lnTo>
                      <a:pt x="3150" y="4071"/>
                    </a:lnTo>
                    <a:cubicBezTo>
                      <a:pt x="3150" y="3903"/>
                      <a:pt x="3290" y="3764"/>
                      <a:pt x="3485" y="3764"/>
                    </a:cubicBezTo>
                    <a:close/>
                    <a:moveTo>
                      <a:pt x="7109" y="3764"/>
                    </a:moveTo>
                    <a:cubicBezTo>
                      <a:pt x="7276" y="3764"/>
                      <a:pt x="7415" y="3903"/>
                      <a:pt x="7415" y="4071"/>
                    </a:cubicBezTo>
                    <a:lnTo>
                      <a:pt x="7415" y="7694"/>
                    </a:lnTo>
                    <a:cubicBezTo>
                      <a:pt x="7415" y="8754"/>
                      <a:pt x="6607" y="9646"/>
                      <a:pt x="5603" y="9785"/>
                    </a:cubicBezTo>
                    <a:lnTo>
                      <a:pt x="5603" y="3764"/>
                    </a:lnTo>
                    <a:close/>
                    <a:moveTo>
                      <a:pt x="3987" y="1"/>
                    </a:moveTo>
                    <a:cubicBezTo>
                      <a:pt x="3819" y="1"/>
                      <a:pt x="3680" y="140"/>
                      <a:pt x="3680" y="307"/>
                    </a:cubicBezTo>
                    <a:lnTo>
                      <a:pt x="3680" y="921"/>
                    </a:lnTo>
                    <a:cubicBezTo>
                      <a:pt x="3680" y="1199"/>
                      <a:pt x="3819" y="1422"/>
                      <a:pt x="3987" y="1618"/>
                    </a:cubicBezTo>
                    <a:cubicBezTo>
                      <a:pt x="3513" y="1952"/>
                      <a:pt x="3150" y="2482"/>
                      <a:pt x="3095" y="3095"/>
                    </a:cubicBezTo>
                    <a:cubicBezTo>
                      <a:pt x="2732" y="3206"/>
                      <a:pt x="2453" y="3569"/>
                      <a:pt x="2453" y="3987"/>
                    </a:cubicBezTo>
                    <a:lnTo>
                      <a:pt x="2453" y="4294"/>
                    </a:lnTo>
                    <a:lnTo>
                      <a:pt x="1840" y="4294"/>
                    </a:lnTo>
                    <a:cubicBezTo>
                      <a:pt x="1450" y="4294"/>
                      <a:pt x="1115" y="4043"/>
                      <a:pt x="976" y="3652"/>
                    </a:cubicBezTo>
                    <a:lnTo>
                      <a:pt x="642" y="2677"/>
                    </a:lnTo>
                    <a:cubicBezTo>
                      <a:pt x="600" y="2551"/>
                      <a:pt x="511" y="2489"/>
                      <a:pt x="399" y="2489"/>
                    </a:cubicBezTo>
                    <a:cubicBezTo>
                      <a:pt x="361" y="2489"/>
                      <a:pt x="321" y="2496"/>
                      <a:pt x="279" y="2510"/>
                    </a:cubicBezTo>
                    <a:cubicBezTo>
                      <a:pt x="84" y="2565"/>
                      <a:pt x="28" y="2705"/>
                      <a:pt x="84" y="2900"/>
                    </a:cubicBezTo>
                    <a:lnTo>
                      <a:pt x="419" y="3875"/>
                    </a:lnTo>
                    <a:cubicBezTo>
                      <a:pt x="614" y="4489"/>
                      <a:pt x="1171" y="4907"/>
                      <a:pt x="1840" y="4907"/>
                    </a:cubicBezTo>
                    <a:lnTo>
                      <a:pt x="2453" y="4907"/>
                    </a:lnTo>
                    <a:lnTo>
                      <a:pt x="2453" y="6133"/>
                    </a:lnTo>
                    <a:lnTo>
                      <a:pt x="335" y="6133"/>
                    </a:lnTo>
                    <a:cubicBezTo>
                      <a:pt x="168" y="6133"/>
                      <a:pt x="28" y="6273"/>
                      <a:pt x="28" y="6440"/>
                    </a:cubicBezTo>
                    <a:cubicBezTo>
                      <a:pt x="28" y="6635"/>
                      <a:pt x="168" y="6775"/>
                      <a:pt x="335" y="6775"/>
                    </a:cubicBezTo>
                    <a:lnTo>
                      <a:pt x="2453" y="6775"/>
                    </a:lnTo>
                    <a:lnTo>
                      <a:pt x="2453" y="7667"/>
                    </a:lnTo>
                    <a:lnTo>
                      <a:pt x="2453" y="7973"/>
                    </a:lnTo>
                    <a:lnTo>
                      <a:pt x="1812" y="7973"/>
                    </a:lnTo>
                    <a:cubicBezTo>
                      <a:pt x="1143" y="7973"/>
                      <a:pt x="586" y="8391"/>
                      <a:pt x="363" y="9032"/>
                    </a:cubicBezTo>
                    <a:lnTo>
                      <a:pt x="56" y="10008"/>
                    </a:lnTo>
                    <a:cubicBezTo>
                      <a:pt x="0" y="10175"/>
                      <a:pt x="84" y="10315"/>
                      <a:pt x="223" y="10398"/>
                    </a:cubicBezTo>
                    <a:cubicBezTo>
                      <a:pt x="259" y="10408"/>
                      <a:pt x="292" y="10413"/>
                      <a:pt x="323" y="10413"/>
                    </a:cubicBezTo>
                    <a:cubicBezTo>
                      <a:pt x="466" y="10413"/>
                      <a:pt x="568" y="10317"/>
                      <a:pt x="614" y="10203"/>
                    </a:cubicBezTo>
                    <a:lnTo>
                      <a:pt x="920" y="9228"/>
                    </a:lnTo>
                    <a:cubicBezTo>
                      <a:pt x="1060" y="8865"/>
                      <a:pt x="1394" y="8614"/>
                      <a:pt x="1812" y="8614"/>
                    </a:cubicBezTo>
                    <a:lnTo>
                      <a:pt x="2593" y="8614"/>
                    </a:lnTo>
                    <a:cubicBezTo>
                      <a:pt x="2983" y="9646"/>
                      <a:pt x="3987" y="10426"/>
                      <a:pt x="5185" y="10426"/>
                    </a:cubicBezTo>
                    <a:cubicBezTo>
                      <a:pt x="6356" y="10426"/>
                      <a:pt x="7387" y="9646"/>
                      <a:pt x="7750" y="8614"/>
                    </a:cubicBezTo>
                    <a:lnTo>
                      <a:pt x="8586" y="8614"/>
                    </a:lnTo>
                    <a:cubicBezTo>
                      <a:pt x="8976" y="8614"/>
                      <a:pt x="9339" y="8837"/>
                      <a:pt x="9478" y="9228"/>
                    </a:cubicBezTo>
                    <a:lnTo>
                      <a:pt x="9785" y="10203"/>
                    </a:lnTo>
                    <a:cubicBezTo>
                      <a:pt x="9827" y="10351"/>
                      <a:pt x="9917" y="10419"/>
                      <a:pt x="10043" y="10419"/>
                    </a:cubicBezTo>
                    <a:cubicBezTo>
                      <a:pt x="10084" y="10419"/>
                      <a:pt x="10128" y="10412"/>
                      <a:pt x="10175" y="10398"/>
                    </a:cubicBezTo>
                    <a:cubicBezTo>
                      <a:pt x="10342" y="10315"/>
                      <a:pt x="10398" y="10175"/>
                      <a:pt x="10342" y="10008"/>
                    </a:cubicBezTo>
                    <a:lnTo>
                      <a:pt x="10119" y="9032"/>
                    </a:lnTo>
                    <a:cubicBezTo>
                      <a:pt x="9924" y="8391"/>
                      <a:pt x="9367" y="7973"/>
                      <a:pt x="8698" y="7973"/>
                    </a:cubicBezTo>
                    <a:lnTo>
                      <a:pt x="8001" y="7973"/>
                    </a:lnTo>
                    <a:lnTo>
                      <a:pt x="8001" y="7667"/>
                    </a:lnTo>
                    <a:lnTo>
                      <a:pt x="8001" y="6775"/>
                    </a:lnTo>
                    <a:lnTo>
                      <a:pt x="10175" y="6775"/>
                    </a:lnTo>
                    <a:cubicBezTo>
                      <a:pt x="10342" y="6775"/>
                      <a:pt x="10482" y="6635"/>
                      <a:pt x="10482" y="6440"/>
                    </a:cubicBezTo>
                    <a:cubicBezTo>
                      <a:pt x="10482" y="6273"/>
                      <a:pt x="10342" y="6133"/>
                      <a:pt x="10175" y="6133"/>
                    </a:cubicBezTo>
                    <a:lnTo>
                      <a:pt x="8001" y="6133"/>
                    </a:lnTo>
                    <a:lnTo>
                      <a:pt x="8001" y="4907"/>
                    </a:lnTo>
                    <a:lnTo>
                      <a:pt x="8698" y="4907"/>
                    </a:lnTo>
                    <a:cubicBezTo>
                      <a:pt x="9367" y="4907"/>
                      <a:pt x="9924" y="4489"/>
                      <a:pt x="10119" y="3875"/>
                    </a:cubicBezTo>
                    <a:lnTo>
                      <a:pt x="10454" y="2900"/>
                    </a:lnTo>
                    <a:cubicBezTo>
                      <a:pt x="10509" y="2705"/>
                      <a:pt x="10398" y="2565"/>
                      <a:pt x="10259" y="2510"/>
                    </a:cubicBezTo>
                    <a:cubicBezTo>
                      <a:pt x="10223" y="2498"/>
                      <a:pt x="10188" y="2492"/>
                      <a:pt x="10156" y="2492"/>
                    </a:cubicBezTo>
                    <a:cubicBezTo>
                      <a:pt x="10036" y="2492"/>
                      <a:pt x="9940" y="2567"/>
                      <a:pt x="9896" y="2677"/>
                    </a:cubicBezTo>
                    <a:lnTo>
                      <a:pt x="9562" y="3652"/>
                    </a:lnTo>
                    <a:cubicBezTo>
                      <a:pt x="9422" y="4043"/>
                      <a:pt x="9116" y="4294"/>
                      <a:pt x="8698" y="4294"/>
                    </a:cubicBezTo>
                    <a:lnTo>
                      <a:pt x="8001" y="4294"/>
                    </a:lnTo>
                    <a:lnTo>
                      <a:pt x="8001" y="3987"/>
                    </a:lnTo>
                    <a:cubicBezTo>
                      <a:pt x="8001" y="3597"/>
                      <a:pt x="7750" y="3234"/>
                      <a:pt x="7387" y="3095"/>
                    </a:cubicBezTo>
                    <a:cubicBezTo>
                      <a:pt x="7304" y="2482"/>
                      <a:pt x="6969" y="1952"/>
                      <a:pt x="6468" y="1618"/>
                    </a:cubicBezTo>
                    <a:cubicBezTo>
                      <a:pt x="6691" y="1422"/>
                      <a:pt x="6774" y="1199"/>
                      <a:pt x="6774" y="921"/>
                    </a:cubicBezTo>
                    <a:lnTo>
                      <a:pt x="6774" y="307"/>
                    </a:lnTo>
                    <a:cubicBezTo>
                      <a:pt x="6774" y="140"/>
                      <a:pt x="6635" y="1"/>
                      <a:pt x="6468" y="1"/>
                    </a:cubicBezTo>
                    <a:cubicBezTo>
                      <a:pt x="6300" y="1"/>
                      <a:pt x="6161" y="140"/>
                      <a:pt x="6161" y="307"/>
                    </a:cubicBezTo>
                    <a:lnTo>
                      <a:pt x="6161" y="921"/>
                    </a:lnTo>
                    <a:cubicBezTo>
                      <a:pt x="6161" y="1088"/>
                      <a:pt x="6022" y="1255"/>
                      <a:pt x="5854" y="1255"/>
                    </a:cubicBezTo>
                    <a:lnTo>
                      <a:pt x="4628" y="1255"/>
                    </a:lnTo>
                    <a:cubicBezTo>
                      <a:pt x="4488" y="1255"/>
                      <a:pt x="4321" y="1088"/>
                      <a:pt x="4321" y="921"/>
                    </a:cubicBezTo>
                    <a:lnTo>
                      <a:pt x="4321" y="307"/>
                    </a:lnTo>
                    <a:cubicBezTo>
                      <a:pt x="4321" y="140"/>
                      <a:pt x="4182" y="1"/>
                      <a:pt x="3987" y="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Segoe"/>
                  <a:ea typeface="+mn-ea"/>
                  <a:cs typeface="Arial"/>
                </a:endParaRPr>
              </a:p>
            </p:txBody>
          </p:sp>
          <p:sp>
            <p:nvSpPr>
              <p:cNvPr id="57" name="Google Shape;12544;p89">
                <a:extLst>
                  <a:ext uri="{FF2B5EF4-FFF2-40B4-BE49-F238E27FC236}">
                    <a16:creationId xmlns:a16="http://schemas.microsoft.com/office/drawing/2014/main" id="{C3DC7E80-76CD-CBD1-D99D-98D8D291BDB9}"/>
                  </a:ext>
                </a:extLst>
              </p:cNvPr>
              <p:cNvSpPr/>
              <p:nvPr/>
            </p:nvSpPr>
            <p:spPr>
              <a:xfrm>
                <a:off x="6983557" y="2336226"/>
                <a:ext cx="644752" cy="641288"/>
              </a:xfrm>
              <a:custGeom>
                <a:avLst/>
                <a:gdLst/>
                <a:ahLst/>
                <a:cxnLst/>
                <a:rect l="l" t="t" r="r" b="b"/>
                <a:pathLst>
                  <a:path w="11721" h="11658" extrusionOk="0">
                    <a:moveTo>
                      <a:pt x="7624" y="694"/>
                    </a:moveTo>
                    <a:cubicBezTo>
                      <a:pt x="9515" y="694"/>
                      <a:pt x="11058" y="2206"/>
                      <a:pt x="11058" y="4096"/>
                    </a:cubicBezTo>
                    <a:cubicBezTo>
                      <a:pt x="11058" y="5987"/>
                      <a:pt x="9515" y="7530"/>
                      <a:pt x="7624" y="7530"/>
                    </a:cubicBezTo>
                    <a:cubicBezTo>
                      <a:pt x="5734" y="7530"/>
                      <a:pt x="4190" y="5987"/>
                      <a:pt x="4190" y="4096"/>
                    </a:cubicBezTo>
                    <a:cubicBezTo>
                      <a:pt x="4190" y="2206"/>
                      <a:pt x="5734" y="694"/>
                      <a:pt x="7624" y="694"/>
                    </a:cubicBezTo>
                    <a:close/>
                    <a:moveTo>
                      <a:pt x="3336" y="8066"/>
                    </a:moveTo>
                    <a:cubicBezTo>
                      <a:pt x="3426" y="8066"/>
                      <a:pt x="3513" y="8098"/>
                      <a:pt x="3560" y="8161"/>
                    </a:cubicBezTo>
                    <a:cubicBezTo>
                      <a:pt x="3686" y="8287"/>
                      <a:pt x="3686" y="8507"/>
                      <a:pt x="3560" y="8633"/>
                    </a:cubicBezTo>
                    <a:lnTo>
                      <a:pt x="1323" y="10870"/>
                    </a:lnTo>
                    <a:cubicBezTo>
                      <a:pt x="1260" y="10933"/>
                      <a:pt x="1174" y="10964"/>
                      <a:pt x="1087" y="10964"/>
                    </a:cubicBezTo>
                    <a:cubicBezTo>
                      <a:pt x="1001" y="10964"/>
                      <a:pt x="914" y="10933"/>
                      <a:pt x="851" y="10870"/>
                    </a:cubicBezTo>
                    <a:cubicBezTo>
                      <a:pt x="725" y="10744"/>
                      <a:pt x="725" y="10523"/>
                      <a:pt x="851" y="10397"/>
                    </a:cubicBezTo>
                    <a:lnTo>
                      <a:pt x="3088" y="8161"/>
                    </a:lnTo>
                    <a:cubicBezTo>
                      <a:pt x="3151" y="8098"/>
                      <a:pt x="3245" y="8066"/>
                      <a:pt x="3336" y="8066"/>
                    </a:cubicBezTo>
                    <a:close/>
                    <a:moveTo>
                      <a:pt x="7624" y="1"/>
                    </a:moveTo>
                    <a:cubicBezTo>
                      <a:pt x="5356" y="1"/>
                      <a:pt x="3529" y="1860"/>
                      <a:pt x="3529" y="4096"/>
                    </a:cubicBezTo>
                    <a:cubicBezTo>
                      <a:pt x="3529" y="5136"/>
                      <a:pt x="3875" y="6050"/>
                      <a:pt x="4505" y="6743"/>
                    </a:cubicBezTo>
                    <a:lnTo>
                      <a:pt x="3812" y="7467"/>
                    </a:lnTo>
                    <a:cubicBezTo>
                      <a:pt x="3661" y="7386"/>
                      <a:pt x="3500" y="7347"/>
                      <a:pt x="3342" y="7347"/>
                    </a:cubicBezTo>
                    <a:cubicBezTo>
                      <a:pt x="3074" y="7347"/>
                      <a:pt x="2813" y="7458"/>
                      <a:pt x="2615" y="7656"/>
                    </a:cubicBezTo>
                    <a:lnTo>
                      <a:pt x="378" y="9893"/>
                    </a:lnTo>
                    <a:cubicBezTo>
                      <a:pt x="0" y="10271"/>
                      <a:pt x="0" y="10964"/>
                      <a:pt x="378" y="11343"/>
                    </a:cubicBezTo>
                    <a:cubicBezTo>
                      <a:pt x="567" y="11532"/>
                      <a:pt x="851" y="11658"/>
                      <a:pt x="1103" y="11658"/>
                    </a:cubicBezTo>
                    <a:cubicBezTo>
                      <a:pt x="1355" y="11658"/>
                      <a:pt x="1607" y="11532"/>
                      <a:pt x="1796" y="11343"/>
                    </a:cubicBezTo>
                    <a:lnTo>
                      <a:pt x="4033" y="9106"/>
                    </a:lnTo>
                    <a:cubicBezTo>
                      <a:pt x="4348" y="8791"/>
                      <a:pt x="4442" y="8318"/>
                      <a:pt x="4253" y="7909"/>
                    </a:cubicBezTo>
                    <a:lnTo>
                      <a:pt x="4947" y="7215"/>
                    </a:lnTo>
                    <a:cubicBezTo>
                      <a:pt x="5671" y="7814"/>
                      <a:pt x="6616" y="8192"/>
                      <a:pt x="7593" y="8192"/>
                    </a:cubicBezTo>
                    <a:cubicBezTo>
                      <a:pt x="9861" y="8192"/>
                      <a:pt x="11689" y="6333"/>
                      <a:pt x="11689" y="4096"/>
                    </a:cubicBezTo>
                    <a:cubicBezTo>
                      <a:pt x="11720" y="1828"/>
                      <a:pt x="9861" y="1"/>
                      <a:pt x="7624" y="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"/>
                  <a:ea typeface="+mn-ea"/>
                  <a:cs typeface="Arial"/>
                </a:endParaRPr>
              </a:p>
            </p:txBody>
          </p:sp>
        </p:grpSp>
      </p:grp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4E7FE5F9-89E7-6DE9-92E6-CDA47A894D2B}"/>
              </a:ext>
            </a:extLst>
          </p:cNvPr>
          <p:cNvCxnSpPr>
            <a:cxnSpLocks/>
          </p:cNvCxnSpPr>
          <p:nvPr/>
        </p:nvCxnSpPr>
        <p:spPr>
          <a:xfrm rot="10800000" flipV="1">
            <a:off x="7557995" y="708250"/>
            <a:ext cx="2073729" cy="1580854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34512C47-F8CD-B594-DEE0-907674B1C421}"/>
              </a:ext>
            </a:extLst>
          </p:cNvPr>
          <p:cNvSpPr txBox="1"/>
          <p:nvPr/>
        </p:nvSpPr>
        <p:spPr>
          <a:xfrm>
            <a:off x="8801100" y="915850"/>
            <a:ext cx="1768531" cy="9040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teps to enhance Quality</a:t>
            </a:r>
          </a:p>
        </p:txBody>
      </p:sp>
    </p:spTree>
    <p:extLst>
      <p:ext uri="{BB962C8B-B14F-4D97-AF65-F5344CB8AC3E}">
        <p14:creationId xmlns:p14="http://schemas.microsoft.com/office/powerpoint/2010/main" val="40033489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2421102-D78C-4ACF-9785-55F4FDBF1298}"/>
              </a:ext>
            </a:extLst>
          </p:cNvPr>
          <p:cNvCxnSpPr>
            <a:cxnSpLocks/>
          </p:cNvCxnSpPr>
          <p:nvPr/>
        </p:nvCxnSpPr>
        <p:spPr>
          <a:xfrm flipH="1">
            <a:off x="302930" y="648194"/>
            <a:ext cx="9899849" cy="0"/>
          </a:xfrm>
          <a:prstGeom prst="line">
            <a:avLst/>
          </a:prstGeom>
          <a:ln w="19050">
            <a:solidFill>
              <a:srgbClr val="BD0F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6CFF27-0307-497F-9BEC-7E03DDBE229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kumimoji="0" lang="en-US" sz="2800" i="0" u="none" strike="noStrike" kern="1200" cap="none" spc="-55" normalizeH="0" baseline="0" noProof="0">
                <a:ln>
                  <a:noFill/>
                </a:ln>
                <a:solidFill>
                  <a:srgbClr val="BC0F79"/>
                </a:solidFill>
                <a:effectLst/>
                <a:uLnTx/>
                <a:uFillTx/>
                <a:latin typeface="Bosch Sans Bold"/>
                <a:cs typeface="Arial"/>
              </a:rPr>
              <a:t>Proje</a:t>
            </a:r>
            <a:r>
              <a:rPr lang="en-US" kern="1200" spc="-55" err="1">
                <a:solidFill>
                  <a:srgbClr val="BC0F79"/>
                </a:solidFill>
                <a:latin typeface="Bosch Sans Bold"/>
                <a:cs typeface="Arial"/>
              </a:rPr>
              <a:t>ct</a:t>
            </a:r>
            <a:r>
              <a:rPr lang="en-US" kern="1200" spc="-55">
                <a:solidFill>
                  <a:srgbClr val="BC0F79"/>
                </a:solidFill>
                <a:latin typeface="Bosch Sans Bold"/>
                <a:cs typeface="Arial"/>
              </a:rPr>
              <a:t> Metrics </a:t>
            </a:r>
            <a:endParaRPr kumimoji="0" lang="en-US" sz="280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Sans Bold"/>
              <a:cs typeface="Arial"/>
            </a:endParaRPr>
          </a:p>
          <a:p>
            <a:endParaRPr lang="en-IN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961DA16-008D-4313-AEBA-40DED537A6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248" y="743750"/>
            <a:ext cx="5414017" cy="388800"/>
          </a:xfrm>
        </p:spPr>
        <p:txBody>
          <a:bodyPr anchor="ctr"/>
          <a:lstStyle/>
          <a:p>
            <a:r>
              <a:rPr lang="en-US" sz="2000">
                <a:solidFill>
                  <a:srgbClr val="008380"/>
                </a:solidFill>
                <a:latin typeface="Bosch Sans Bold"/>
                <a:cs typeface="Arial"/>
              </a:rPr>
              <a:t>QCD 2025</a:t>
            </a:r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E32F7B1-49B0-0F17-7C45-A52FFC098A0F}"/>
              </a:ext>
            </a:extLst>
          </p:cNvPr>
          <p:cNvSpPr txBox="1">
            <a:spLocks/>
          </p:cNvSpPr>
          <p:nvPr/>
        </p:nvSpPr>
        <p:spPr>
          <a:xfrm>
            <a:off x="371869" y="3083149"/>
            <a:ext cx="10450800" cy="3888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333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sz="280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z="2000">
                <a:solidFill>
                  <a:srgbClr val="008380"/>
                </a:solidFill>
                <a:latin typeface="Bosch Sans Bold"/>
                <a:cs typeface="Arial"/>
              </a:rPr>
              <a:t>Defects</a:t>
            </a:r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C21691F7-88F4-0A62-1BA6-694A26E3AFD3}"/>
              </a:ext>
            </a:extLst>
          </p:cNvPr>
          <p:cNvSpPr txBox="1">
            <a:spLocks/>
          </p:cNvSpPr>
          <p:nvPr/>
        </p:nvSpPr>
        <p:spPr>
          <a:xfrm>
            <a:off x="5071362" y="760440"/>
            <a:ext cx="1334496" cy="3888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333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sz="280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FC8B60F-558F-3E90-B017-54BBD3537C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4247" y="3446435"/>
            <a:ext cx="3253700" cy="192824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6641DE1-C1D8-73AA-7058-1FE9D7188B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5302" y="1130307"/>
            <a:ext cx="4409577" cy="199584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A7BEC139-F89C-A5D0-736C-401D3ED24C35}"/>
              </a:ext>
            </a:extLst>
          </p:cNvPr>
          <p:cNvSpPr txBox="1">
            <a:spLocks/>
          </p:cNvSpPr>
          <p:nvPr/>
        </p:nvSpPr>
        <p:spPr>
          <a:xfrm>
            <a:off x="5071362" y="738102"/>
            <a:ext cx="1334496" cy="3163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333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sz="280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z="2000">
                <a:solidFill>
                  <a:srgbClr val="008380"/>
                </a:solidFill>
                <a:latin typeface="Bosch Sans Bold"/>
                <a:cs typeface="Arial"/>
              </a:rPr>
              <a:t>PEI Goals</a:t>
            </a:r>
            <a:endParaRPr lang="en-US"/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57726942-931A-635F-C909-404830C520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5229222"/>
              </p:ext>
            </p:extLst>
          </p:nvPr>
        </p:nvGraphicFramePr>
        <p:xfrm>
          <a:off x="5071362" y="1157564"/>
          <a:ext cx="2468772" cy="1849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4386">
                  <a:extLst>
                    <a:ext uri="{9D8B030D-6E8A-4147-A177-3AD203B41FA5}">
                      <a16:colId xmlns:a16="http://schemas.microsoft.com/office/drawing/2014/main" val="4072823347"/>
                    </a:ext>
                  </a:extLst>
                </a:gridCol>
                <a:gridCol w="1234386">
                  <a:extLst>
                    <a:ext uri="{9D8B030D-6E8A-4147-A177-3AD203B41FA5}">
                      <a16:colId xmlns:a16="http://schemas.microsoft.com/office/drawing/2014/main" val="387823843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/>
                        <a:t>Goa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60371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/>
                        <a:t>Improved customer Defect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39 customer reported defec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58692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/>
                        <a:t>Defect Leak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5276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/>
                        <a:t>Review Defects&gt;Internal Defec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12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48268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/>
                        <a:t>No of defects found from regression cyc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4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57234699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65D00C9C-88DB-0F0A-7FAD-F6E33AEACA1A}"/>
              </a:ext>
            </a:extLst>
          </p:cNvPr>
          <p:cNvSpPr txBox="1"/>
          <p:nvPr/>
        </p:nvSpPr>
        <p:spPr>
          <a:xfrm>
            <a:off x="7665497" y="1151586"/>
            <a:ext cx="1769597" cy="685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QSR Status: 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BE7AB5A-0907-9DEB-EC16-E92172A1EEE2}"/>
              </a:ext>
            </a:extLst>
          </p:cNvPr>
          <p:cNvSpPr/>
          <p:nvPr/>
        </p:nvSpPr>
        <p:spPr>
          <a:xfrm>
            <a:off x="9177312" y="1141181"/>
            <a:ext cx="278328" cy="349958"/>
          </a:xfrm>
          <a:prstGeom prst="ellipse">
            <a:avLst/>
          </a:prstGeom>
          <a:solidFill>
            <a:srgbClr val="92D050"/>
          </a:solidFill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854C300-AA47-6DB1-1846-0E515A7FAB02}"/>
              </a:ext>
            </a:extLst>
          </p:cNvPr>
          <p:cNvSpPr txBox="1"/>
          <p:nvPr/>
        </p:nvSpPr>
        <p:spPr>
          <a:xfrm>
            <a:off x="4887803" y="1231586"/>
            <a:ext cx="2098305" cy="8490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6DABDBB-8EA6-A6B8-F8A0-427A4F2B3C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54703" y="3267039"/>
            <a:ext cx="3210794" cy="2168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4896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8800A31-CED0-538A-E393-3AA2A92C71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9199" y="259251"/>
            <a:ext cx="10450800" cy="388800"/>
          </a:xfrm>
        </p:spPr>
        <p:txBody>
          <a:bodyPr/>
          <a:lstStyle/>
          <a:p>
            <a:r>
              <a:rPr lang="en-US">
                <a:solidFill>
                  <a:srgbClr val="CC0099"/>
                </a:solidFill>
              </a:rPr>
              <a:t>Challenges and Risks: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36AF582-B041-8526-0164-E15834552264}"/>
              </a:ext>
            </a:extLst>
          </p:cNvPr>
          <p:cNvSpPr txBox="1"/>
          <p:nvPr/>
        </p:nvSpPr>
        <p:spPr>
          <a:xfrm>
            <a:off x="432262" y="4883728"/>
            <a:ext cx="980892" cy="5365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54644DC-6FDA-3847-CAA1-69C859B77EB8}"/>
              </a:ext>
            </a:extLst>
          </p:cNvPr>
          <p:cNvSpPr txBox="1"/>
          <p:nvPr/>
        </p:nvSpPr>
        <p:spPr>
          <a:xfrm>
            <a:off x="1508760" y="3262745"/>
            <a:ext cx="980892" cy="3740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EF461B6-CE78-3167-F202-FE2383828CEC}"/>
              </a:ext>
            </a:extLst>
          </p:cNvPr>
          <p:cNvSpPr txBox="1"/>
          <p:nvPr/>
        </p:nvSpPr>
        <p:spPr>
          <a:xfrm>
            <a:off x="1080656" y="4696691"/>
            <a:ext cx="856210" cy="2909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3BE3D22-F37A-84BC-A807-47BB910B3D28}"/>
              </a:ext>
            </a:extLst>
          </p:cNvPr>
          <p:cNvSpPr txBox="1"/>
          <p:nvPr/>
        </p:nvSpPr>
        <p:spPr>
          <a:xfrm>
            <a:off x="4896196" y="1562793"/>
            <a:ext cx="1878677" cy="5365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7315F72-D27E-29F2-0F91-80254C1CA8DE}"/>
              </a:ext>
            </a:extLst>
          </p:cNvPr>
          <p:cNvSpPr txBox="1"/>
          <p:nvPr/>
        </p:nvSpPr>
        <p:spPr>
          <a:xfrm>
            <a:off x="7805666" y="549924"/>
            <a:ext cx="2493818" cy="50707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tabLst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8BDFD3-9787-A335-F52D-8591C8896DA2}"/>
              </a:ext>
            </a:extLst>
          </p:cNvPr>
          <p:cNvSpPr txBox="1"/>
          <p:nvPr/>
        </p:nvSpPr>
        <p:spPr>
          <a:xfrm>
            <a:off x="1080656" y="3961538"/>
            <a:ext cx="5174454" cy="10488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EE7D5F9-4BE3-6F57-C9D0-71DD0A9845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9287513"/>
              </p:ext>
            </p:extLst>
          </p:nvPr>
        </p:nvGraphicFramePr>
        <p:xfrm>
          <a:off x="168583" y="787080"/>
          <a:ext cx="10220618" cy="1598673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3721512">
                  <a:extLst>
                    <a:ext uri="{9D8B030D-6E8A-4147-A177-3AD203B41FA5}">
                      <a16:colId xmlns:a16="http://schemas.microsoft.com/office/drawing/2014/main" val="3839592623"/>
                    </a:ext>
                  </a:extLst>
                </a:gridCol>
                <a:gridCol w="1621037">
                  <a:extLst>
                    <a:ext uri="{9D8B030D-6E8A-4147-A177-3AD203B41FA5}">
                      <a16:colId xmlns:a16="http://schemas.microsoft.com/office/drawing/2014/main" val="2550078217"/>
                    </a:ext>
                  </a:extLst>
                </a:gridCol>
                <a:gridCol w="1239163">
                  <a:extLst>
                    <a:ext uri="{9D8B030D-6E8A-4147-A177-3AD203B41FA5}">
                      <a16:colId xmlns:a16="http://schemas.microsoft.com/office/drawing/2014/main" val="3601017516"/>
                    </a:ext>
                  </a:extLst>
                </a:gridCol>
                <a:gridCol w="1819453">
                  <a:extLst>
                    <a:ext uri="{9D8B030D-6E8A-4147-A177-3AD203B41FA5}">
                      <a16:colId xmlns:a16="http://schemas.microsoft.com/office/drawing/2014/main" val="2911048550"/>
                    </a:ext>
                  </a:extLst>
                </a:gridCol>
                <a:gridCol w="1819453">
                  <a:extLst>
                    <a:ext uri="{9D8B030D-6E8A-4147-A177-3AD203B41FA5}">
                      <a16:colId xmlns:a16="http://schemas.microsoft.com/office/drawing/2014/main" val="333872244"/>
                    </a:ext>
                  </a:extLst>
                </a:gridCol>
              </a:tblGrid>
              <a:tr h="501393">
                <a:tc>
                  <a:txBody>
                    <a:bodyPr/>
                    <a:lstStyle/>
                    <a:p>
                      <a:r>
                        <a:rPr lang="en-US" sz="1100"/>
                        <a:t>    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Likelihood of the ris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Impact if risk occu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Mitigation A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Contingency 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083022"/>
                  </a:ext>
                </a:extLst>
              </a:tr>
              <a:tr h="470592">
                <a:tc>
                  <a:txBody>
                    <a:bodyPr/>
                    <a:lstStyle/>
                    <a:p>
                      <a:r>
                        <a:rPr lang="en-US" sz="1000"/>
                        <a:t>If LuxaMatrix platform concept is removed from DC-JS then scope of work reduces for BGSW te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highlight>
                            <a:srgbClr val="FF9900"/>
                          </a:highlight>
                        </a:rPr>
                        <a:t>Medi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highlight>
                            <a:srgbClr val="FF0000"/>
                          </a:highlight>
                        </a:rPr>
                        <a:t>Hig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LuxaStat integration is in discussion with DC-JS but entire risk cant mitigated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Further discussion with DC-JS on next step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32361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/>
                        <a:t>If Test Automation coverage is not 100 % for previous </a:t>
                      </a:r>
                      <a:r>
                        <a:rPr lang="en-US" sz="1000" err="1"/>
                        <a:t>releases,risk</a:t>
                      </a:r>
                      <a:r>
                        <a:rPr lang="en-US" sz="1000"/>
                        <a:t> of recurring bugs is op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highlight>
                            <a:srgbClr val="FF9900"/>
                          </a:highlight>
                        </a:rPr>
                        <a:t>Medi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highlight>
                            <a:srgbClr val="FF0000"/>
                          </a:highlight>
                        </a:rPr>
                        <a:t>Hig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Manual Regression test case will cover the rest of the modu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Further identification of steps to improve </a:t>
                      </a:r>
                      <a:r>
                        <a:rPr lang="en-US" sz="1000" err="1"/>
                        <a:t>covereage</a:t>
                      </a:r>
                      <a:endParaRPr lang="en-US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36924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75955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3B8521-7542-DD92-8ED6-58854CB300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0C6F1D-9EBF-5274-6FF7-B987E368BB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9200" y="259200"/>
            <a:ext cx="4726268" cy="3888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2800" i="0" u="none" strike="noStrike" kern="1200" cap="none" spc="-55" normalizeH="0" baseline="0" noProof="0">
                <a:ln>
                  <a:noFill/>
                </a:ln>
                <a:solidFill>
                  <a:srgbClr val="BC0F79"/>
                </a:solidFill>
                <a:effectLst/>
                <a:uLnTx/>
                <a:uFillTx/>
                <a:latin typeface="Bosch Sans Bold"/>
                <a:cs typeface="Arial"/>
              </a:rPr>
              <a:t>Highlights and Lowlights</a:t>
            </a:r>
            <a:endParaRPr lang="en-US" sz="2800" i="0" u="none" strike="noStrike" kern="1200" cap="none" spc="-55" normalizeH="0" baseline="0" noProof="0">
              <a:ln>
                <a:noFill/>
              </a:ln>
              <a:solidFill>
                <a:srgbClr val="BC0F79"/>
              </a:solidFill>
              <a:effectLst/>
              <a:uLnTx/>
              <a:uFillTx/>
              <a:latin typeface="Bosch Sans Bold" panose="020B0704020202020204" pitchFamily="34" charset="0"/>
              <a:cs typeface="Arial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2FD1272-98FC-EA49-41BE-49541AD1C0B5}"/>
              </a:ext>
            </a:extLst>
          </p:cNvPr>
          <p:cNvGrpSpPr/>
          <p:nvPr/>
        </p:nvGrpSpPr>
        <p:grpSpPr>
          <a:xfrm>
            <a:off x="267399" y="227088"/>
            <a:ext cx="10442601" cy="421106"/>
            <a:chOff x="267399" y="227088"/>
            <a:chExt cx="10442601" cy="421106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3312BCAB-FC40-906F-9A4B-F5ACEDD9B3E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7399" y="648194"/>
              <a:ext cx="9920354" cy="0"/>
            </a:xfrm>
            <a:prstGeom prst="line">
              <a:avLst/>
            </a:prstGeom>
            <a:ln w="19050">
              <a:solidFill>
                <a:srgbClr val="BD0F7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EF11D40E-1285-A597-40E0-B61A510491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371" t="3680" r="2373" b="90019"/>
            <a:stretch/>
          </p:blipFill>
          <p:spPr>
            <a:xfrm>
              <a:off x="10244221" y="227088"/>
              <a:ext cx="465779" cy="388801"/>
            </a:xfrm>
            <a:prstGeom prst="rect">
              <a:avLst/>
            </a:prstGeom>
          </p:spPr>
        </p:pic>
      </p:grpSp>
      <p:graphicFrame>
        <p:nvGraphicFramePr>
          <p:cNvPr id="17" name="Diagram 16">
            <a:extLst>
              <a:ext uri="{FF2B5EF4-FFF2-40B4-BE49-F238E27FC236}">
                <a16:creationId xmlns:a16="http://schemas.microsoft.com/office/drawing/2014/main" id="{1B724CE6-4EEE-3365-8315-1F0416B0F5A9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9959154"/>
              </p:ext>
            </p:extLst>
          </p:nvPr>
        </p:nvGraphicFramePr>
        <p:xfrm>
          <a:off x="1340932" y="3495228"/>
          <a:ext cx="7459910" cy="18777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2093FAD2-D788-C970-2294-1FA022383FC3}"/>
              </a:ext>
            </a:extLst>
          </p:cNvPr>
          <p:cNvSpPr txBox="1"/>
          <p:nvPr/>
        </p:nvSpPr>
        <p:spPr>
          <a:xfrm>
            <a:off x="1046627" y="967317"/>
            <a:ext cx="2730243" cy="5565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sng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</a:rPr>
              <a:t>Project Highligh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60BDE6B-4759-0D40-E641-6B3C99D54F64}"/>
              </a:ext>
            </a:extLst>
          </p:cNvPr>
          <p:cNvSpPr txBox="1"/>
          <p:nvPr/>
        </p:nvSpPr>
        <p:spPr>
          <a:xfrm>
            <a:off x="7289064" y="876279"/>
            <a:ext cx="235455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sng" strike="noStrike" kern="0" cap="none" spc="0" normalizeH="0" baseline="0" noProof="0">
                <a:ln>
                  <a:noFill/>
                </a:ln>
                <a:solidFill>
                  <a:srgbClr val="CC0066"/>
                </a:solidFill>
                <a:effectLst/>
                <a:uLnTx/>
                <a:uFillTx/>
              </a:rPr>
              <a:t> </a:t>
            </a:r>
            <a:r>
              <a:rPr kumimoji="0" lang="en-US" sz="1800" b="1" i="0" u="sng" strike="noStrike" kern="0" cap="none" spc="0" normalizeH="0" baseline="0" noProof="0">
                <a:ln>
                  <a:noFill/>
                </a:ln>
                <a:solidFill>
                  <a:srgbClr val="ED0007"/>
                </a:solidFill>
                <a:effectLst/>
                <a:uLnTx/>
                <a:uFillTx/>
              </a:rPr>
              <a:t>Project Lowligh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C7E5BEC-2E55-534D-B606-D82B5ED0500C}"/>
              </a:ext>
            </a:extLst>
          </p:cNvPr>
          <p:cNvSpPr txBox="1"/>
          <p:nvPr/>
        </p:nvSpPr>
        <p:spPr>
          <a:xfrm>
            <a:off x="365760" y="1598212"/>
            <a:ext cx="3562185" cy="39242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1400"/>
              <a:t>The release of LuxaOS v4.00 Service Pack 4 is complete</a:t>
            </a: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1400" kern="0">
                <a:solidFill>
                  <a:srgbClr val="000000"/>
                </a:solidFill>
              </a:rPr>
              <a:t>QCD’s green throughout the year except Jan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1400"/>
              <a:t>Partner's recognition of the team's consistent performance.</a:t>
            </a: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1400"/>
              <a:t>Production build automation enhances efficiency</a:t>
            </a: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1400" kern="0">
                <a:solidFill>
                  <a:srgbClr val="000000"/>
                </a:solidFill>
              </a:rPr>
              <a:t>5 Nexo hardware’s received this year,1 controller has been set up in the lab</a:t>
            </a: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1400" kern="0">
                <a:solidFill>
                  <a:srgbClr val="000000"/>
                </a:solidFill>
              </a:rPr>
              <a:t>The Nexo’s can be kept in India for next 1 year as per customs regulations</a:t>
            </a:r>
          </a:p>
          <a:p>
            <a:pPr marL="285750" marR="0" indent="-28575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endParaRPr lang="en-US" kern="0">
              <a:solidFill>
                <a:srgbClr val="000000"/>
              </a:solidFill>
            </a:endParaRPr>
          </a:p>
          <a:p>
            <a:pPr marL="285750" marR="0" indent="-28575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74E8E2E-1070-8D89-B4A3-41D668797B3F}"/>
              </a:ext>
            </a:extLst>
          </p:cNvPr>
          <p:cNvSpPr txBox="1"/>
          <p:nvPr/>
        </p:nvSpPr>
        <p:spPr>
          <a:xfrm>
            <a:off x="6849870" y="1347230"/>
            <a:ext cx="3095666" cy="394710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1400"/>
              <a:t>Discussions at DC-JS about removing LuxaMatrix are underway, with implications for future scope reduction</a:t>
            </a:r>
            <a:endParaRPr lang="en-US" sz="1400" kern="0">
              <a:solidFill>
                <a:srgbClr val="000000"/>
              </a:solidFill>
            </a:endParaRPr>
          </a:p>
          <a:p>
            <a:pPr marL="285750" marR="0" indent="-28575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0CB2090-DE06-1FD0-30CB-0BFC6FFAFF43}"/>
              </a:ext>
            </a:extLst>
          </p:cNvPr>
          <p:cNvSpPr txBox="1"/>
          <p:nvPr/>
        </p:nvSpPr>
        <p:spPr>
          <a:xfrm>
            <a:off x="8110330" y="1245611"/>
            <a:ext cx="2493535" cy="2437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A6D40D9-AB13-800E-6E3E-46A8EB478FAF}"/>
              </a:ext>
            </a:extLst>
          </p:cNvPr>
          <p:cNvSpPr txBox="1"/>
          <p:nvPr/>
        </p:nvSpPr>
        <p:spPr>
          <a:xfrm>
            <a:off x="9043020" y="954987"/>
            <a:ext cx="1201201" cy="2437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1" i="0" u="sng" strike="noStrike" kern="0" cap="none" spc="0" normalizeH="0" baseline="0" noProof="0">
              <a:ln>
                <a:noFill/>
              </a:ln>
              <a:solidFill>
                <a:srgbClr val="18837E"/>
              </a:solidFill>
              <a:effectLst/>
              <a:uLnTx/>
              <a:uFillTx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8EF7CF7-355D-1F8E-9920-E02E0CFAE2E8}"/>
              </a:ext>
            </a:extLst>
          </p:cNvPr>
          <p:cNvSpPr txBox="1"/>
          <p:nvPr/>
        </p:nvSpPr>
        <p:spPr>
          <a:xfrm>
            <a:off x="8110330" y="1462626"/>
            <a:ext cx="2859295" cy="26567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marR="0" indent="-28575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BEFF6EBE-E68F-451C-5C16-901FAD46291C}"/>
              </a:ext>
            </a:extLst>
          </p:cNvPr>
          <p:cNvSpPr/>
          <p:nvPr/>
        </p:nvSpPr>
        <p:spPr>
          <a:xfrm flipH="1">
            <a:off x="3692576" y="1706995"/>
            <a:ext cx="1378311" cy="2756622"/>
          </a:xfrm>
          <a:custGeom>
            <a:avLst/>
            <a:gdLst>
              <a:gd name="connsiteX0" fmla="*/ 0 w 1665111"/>
              <a:gd name="connsiteY0" fmla="*/ 0 h 3330222"/>
              <a:gd name="connsiteX1" fmla="*/ 1665111 w 1665111"/>
              <a:gd name="connsiteY1" fmla="*/ 1665111 h 3330222"/>
              <a:gd name="connsiteX2" fmla="*/ 0 w 1665111"/>
              <a:gd name="connsiteY2" fmla="*/ 3330222 h 3330222"/>
              <a:gd name="connsiteX3" fmla="*/ 0 w 1665111"/>
              <a:gd name="connsiteY3" fmla="*/ 0 h 3330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65111" h="3330222">
                <a:moveTo>
                  <a:pt x="0" y="0"/>
                </a:moveTo>
                <a:cubicBezTo>
                  <a:pt x="919615" y="0"/>
                  <a:pt x="1665111" y="745496"/>
                  <a:pt x="1665111" y="1665111"/>
                </a:cubicBezTo>
                <a:cubicBezTo>
                  <a:pt x="1665111" y="2584726"/>
                  <a:pt x="919615" y="3330222"/>
                  <a:pt x="0" y="3330222"/>
                </a:cubicBezTo>
                <a:lnTo>
                  <a:pt x="0" y="0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pic>
        <p:nvPicPr>
          <p:cNvPr id="20" name="Graphic 19" descr="Thumbs up sign">
            <a:extLst>
              <a:ext uri="{FF2B5EF4-FFF2-40B4-BE49-F238E27FC236}">
                <a16:creationId xmlns:a16="http://schemas.microsoft.com/office/drawing/2014/main" id="{9FDFAD14-4D7F-2311-584C-29F544776A4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06601" y="2545016"/>
            <a:ext cx="914400" cy="91440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81BEB4B4-66A4-AE42-1563-EC06806516AD}"/>
              </a:ext>
            </a:extLst>
          </p:cNvPr>
          <p:cNvSpPr/>
          <p:nvPr/>
        </p:nvSpPr>
        <p:spPr>
          <a:xfrm>
            <a:off x="5149543" y="1706201"/>
            <a:ext cx="1378311" cy="2756622"/>
          </a:xfrm>
          <a:custGeom>
            <a:avLst/>
            <a:gdLst>
              <a:gd name="connsiteX0" fmla="*/ 0 w 1665111"/>
              <a:gd name="connsiteY0" fmla="*/ 0 h 3330222"/>
              <a:gd name="connsiteX1" fmla="*/ 1665111 w 1665111"/>
              <a:gd name="connsiteY1" fmla="*/ 1665111 h 3330222"/>
              <a:gd name="connsiteX2" fmla="*/ 0 w 1665111"/>
              <a:gd name="connsiteY2" fmla="*/ 3330222 h 3330222"/>
              <a:gd name="connsiteX3" fmla="*/ 0 w 1665111"/>
              <a:gd name="connsiteY3" fmla="*/ 0 h 3330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65111" h="3330222">
                <a:moveTo>
                  <a:pt x="0" y="0"/>
                </a:moveTo>
                <a:cubicBezTo>
                  <a:pt x="919615" y="0"/>
                  <a:pt x="1665111" y="745496"/>
                  <a:pt x="1665111" y="1665111"/>
                </a:cubicBezTo>
                <a:cubicBezTo>
                  <a:pt x="1665111" y="2584726"/>
                  <a:pt x="919615" y="3330222"/>
                  <a:pt x="0" y="3330222"/>
                </a:cubicBezTo>
                <a:lnTo>
                  <a:pt x="0" y="0"/>
                </a:lnTo>
                <a:close/>
              </a:path>
            </a:pathLst>
          </a:custGeom>
          <a:solidFill>
            <a:srgbClr val="D2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pic>
        <p:nvPicPr>
          <p:cNvPr id="22" name="Graphic 21" descr="Thumbs up sign">
            <a:extLst>
              <a:ext uri="{FF2B5EF4-FFF2-40B4-BE49-F238E27FC236}">
                <a16:creationId xmlns:a16="http://schemas.microsoft.com/office/drawing/2014/main" id="{2600186C-FCA4-D927-C42D-D2D08B95419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flipV="1">
            <a:off x="5267061" y="2627312"/>
            <a:ext cx="914400" cy="91440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358746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CD1D64-EFB3-425C-ACF0-CB3024296A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9200" y="259200"/>
            <a:ext cx="3952755" cy="3888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kumimoji="0" lang="en-US" sz="2800" i="0" u="none" strike="noStrike" kern="1200" cap="none" spc="-55" normalizeH="0" baseline="0" noProof="0">
                <a:ln>
                  <a:noFill/>
                </a:ln>
                <a:solidFill>
                  <a:srgbClr val="BC0F79"/>
                </a:solidFill>
                <a:effectLst/>
                <a:uLnTx/>
                <a:uFillTx/>
                <a:latin typeface="Bosch Sans Bold" panose="020B0704020202020204" pitchFamily="34" charset="0"/>
                <a:cs typeface="Arial"/>
              </a:rPr>
              <a:t>Our Project</a:t>
            </a:r>
            <a:endParaRPr kumimoji="0" lang="en-US" sz="280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Sans Bold" panose="020B0704020202020204" pitchFamily="34" charset="0"/>
              <a:cs typeface="Arial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A000E14-E87D-408E-A51C-9E26C60703B9}"/>
              </a:ext>
            </a:extLst>
          </p:cNvPr>
          <p:cNvGrpSpPr/>
          <p:nvPr/>
        </p:nvGrpSpPr>
        <p:grpSpPr>
          <a:xfrm>
            <a:off x="267399" y="227088"/>
            <a:ext cx="10442601" cy="421106"/>
            <a:chOff x="267399" y="227088"/>
            <a:chExt cx="10442601" cy="421106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22421102-D78C-4ACF-9785-55F4FDBF129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7399" y="648194"/>
              <a:ext cx="9920354" cy="0"/>
            </a:xfrm>
            <a:prstGeom prst="line">
              <a:avLst/>
            </a:prstGeom>
            <a:ln w="19050">
              <a:solidFill>
                <a:srgbClr val="BD0F7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1149051-7275-48EF-BC87-9B6393555CB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371" t="3680" r="2373" b="90019"/>
            <a:stretch/>
          </p:blipFill>
          <p:spPr>
            <a:xfrm>
              <a:off x="10244221" y="227088"/>
              <a:ext cx="465779" cy="388801"/>
            </a:xfrm>
            <a:prstGeom prst="rect">
              <a:avLst/>
            </a:prstGeom>
          </p:spPr>
        </p:pic>
      </p:grpSp>
      <p:graphicFrame>
        <p:nvGraphicFramePr>
          <p:cNvPr id="17" name="Diagram 16">
            <a:extLst>
              <a:ext uri="{FF2B5EF4-FFF2-40B4-BE49-F238E27FC236}">
                <a16:creationId xmlns:a16="http://schemas.microsoft.com/office/drawing/2014/main" id="{8793C097-2938-4F83-9434-23F497823CE4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8653723"/>
              </p:ext>
            </p:extLst>
          </p:nvPr>
        </p:nvGraphicFramePr>
        <p:xfrm>
          <a:off x="1340932" y="3495228"/>
          <a:ext cx="7459910" cy="18777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graphicFrame>
        <p:nvGraphicFramePr>
          <p:cNvPr id="19" name="Diagram 18">
            <a:extLst>
              <a:ext uri="{FF2B5EF4-FFF2-40B4-BE49-F238E27FC236}">
                <a16:creationId xmlns:a16="http://schemas.microsoft.com/office/drawing/2014/main" id="{914BA5A4-5B7C-493A-BBCB-64ED3AA686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7588294"/>
              </p:ext>
            </p:extLst>
          </p:nvPr>
        </p:nvGraphicFramePr>
        <p:xfrm>
          <a:off x="1340931" y="1078144"/>
          <a:ext cx="7459911" cy="23573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</p:spTree>
    <p:extLst>
      <p:ext uri="{BB962C8B-B14F-4D97-AF65-F5344CB8AC3E}">
        <p14:creationId xmlns:p14="http://schemas.microsoft.com/office/powerpoint/2010/main" val="194810597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CD1D64-EFB3-425C-ACF0-CB3024296A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465" y="259200"/>
            <a:ext cx="10156756" cy="3888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CC0099"/>
                </a:solidFill>
                <a:effectLst/>
                <a:uLnTx/>
                <a:uFillTx/>
                <a:latin typeface="Bosch Sans Bold" panose="020B0704020202020204" pitchFamily="34" charset="0"/>
                <a:cs typeface="Arial"/>
              </a:rPr>
              <a:t>Tightening </a:t>
            </a:r>
            <a:r>
              <a:rPr kumimoji="0" lang="en-US" sz="2000" b="1" i="0" u="none" strike="noStrike" kern="1200" cap="none" spc="0" normalizeH="0" baseline="0" noProof="0" err="1">
                <a:ln>
                  <a:noFill/>
                </a:ln>
                <a:solidFill>
                  <a:srgbClr val="CC0099"/>
                </a:solidFill>
                <a:effectLst/>
                <a:uLnTx/>
                <a:uFillTx/>
                <a:latin typeface="Bosch Sans Bold" panose="020B0704020202020204" pitchFamily="34" charset="0"/>
                <a:cs typeface="Arial"/>
              </a:rPr>
              <a:t>Syste</a:t>
            </a:r>
            <a:r>
              <a:rPr lang="en-US" sz="2000" b="1" kern="1200">
                <a:solidFill>
                  <a:srgbClr val="CC0099"/>
                </a:solidFill>
                <a:latin typeface="Bosch Sans Bold" panose="020B0704020202020204" pitchFamily="34" charset="0"/>
                <a:cs typeface="Arial"/>
              </a:rPr>
              <a:t>m – Product Portfolio – Not in BGSW Scope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CC0099"/>
              </a:solidFill>
              <a:effectLst/>
              <a:uLnTx/>
              <a:uFillTx/>
              <a:latin typeface="Bosch Sans Bold" panose="020B0704020202020204" pitchFamily="34" charset="0"/>
              <a:cs typeface="Arial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A000E14-E87D-408E-A51C-9E26C60703B9}"/>
              </a:ext>
            </a:extLst>
          </p:cNvPr>
          <p:cNvGrpSpPr/>
          <p:nvPr/>
        </p:nvGrpSpPr>
        <p:grpSpPr>
          <a:xfrm>
            <a:off x="267399" y="227088"/>
            <a:ext cx="10442601" cy="421106"/>
            <a:chOff x="267399" y="227088"/>
            <a:chExt cx="10442601" cy="421106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22421102-D78C-4ACF-9785-55F4FDBF129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7399" y="648194"/>
              <a:ext cx="9920354" cy="0"/>
            </a:xfrm>
            <a:prstGeom prst="line">
              <a:avLst/>
            </a:prstGeom>
            <a:ln w="19050">
              <a:solidFill>
                <a:srgbClr val="BD0F7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1149051-7275-48EF-BC87-9B6393555CB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371" t="3680" r="2373" b="90019"/>
            <a:stretch/>
          </p:blipFill>
          <p:spPr>
            <a:xfrm>
              <a:off x="10244221" y="227088"/>
              <a:ext cx="465779" cy="388801"/>
            </a:xfrm>
            <a:prstGeom prst="rect">
              <a:avLst/>
            </a:prstGeom>
          </p:spPr>
        </p:pic>
      </p:grpSp>
      <p:graphicFrame>
        <p:nvGraphicFramePr>
          <p:cNvPr id="19" name="Diagram 18">
            <a:extLst>
              <a:ext uri="{FF2B5EF4-FFF2-40B4-BE49-F238E27FC236}">
                <a16:creationId xmlns:a16="http://schemas.microsoft.com/office/drawing/2014/main" id="{914BA5A4-5B7C-493A-BBCB-64ED3AA686F8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1340932" y="1078144"/>
          <a:ext cx="5697660" cy="23573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5C81CB14-0188-F750-03E2-6EC6D6E5B327}"/>
              </a:ext>
            </a:extLst>
          </p:cNvPr>
          <p:cNvSpPr txBox="1"/>
          <p:nvPr/>
        </p:nvSpPr>
        <p:spPr>
          <a:xfrm>
            <a:off x="-716924" y="1379133"/>
            <a:ext cx="9464998" cy="18777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4B76ED8-2E50-D7FA-5A92-168D6AFF3BFD}"/>
              </a:ext>
            </a:extLst>
          </p:cNvPr>
          <p:cNvSpPr txBox="1"/>
          <p:nvPr/>
        </p:nvSpPr>
        <p:spPr>
          <a:xfrm>
            <a:off x="409376" y="1018453"/>
            <a:ext cx="3049441" cy="2458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CF01573-4F72-E85B-D12C-89C05DAAC653}"/>
              </a:ext>
            </a:extLst>
          </p:cNvPr>
          <p:cNvSpPr txBox="1"/>
          <p:nvPr/>
        </p:nvSpPr>
        <p:spPr>
          <a:xfrm>
            <a:off x="6858801" y="3435537"/>
            <a:ext cx="4110824" cy="156640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US" sz="800" kern="0">
                <a:solidFill>
                  <a:srgbClr val="004975"/>
                </a:solidFill>
              </a:rPr>
              <a:t>Embedded Systems Programming</a:t>
            </a: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US" sz="800" kern="0">
                <a:solidFill>
                  <a:srgbClr val="004975"/>
                </a:solidFill>
              </a:rPr>
              <a:t> Programming Languages – C/C++  to write firmware</a:t>
            </a: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US" sz="800" kern="0">
                <a:solidFill>
                  <a:srgbClr val="004975"/>
                </a:solidFill>
              </a:rPr>
              <a:t>Knowledge of specific hardware </a:t>
            </a: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US" sz="800" kern="0">
                <a:solidFill>
                  <a:srgbClr val="004975"/>
                </a:solidFill>
              </a:rPr>
              <a:t>Test Automation Software for Test Sequence and Handling</a:t>
            </a: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US" sz="800" kern="0">
                <a:solidFill>
                  <a:srgbClr val="004975"/>
                </a:solidFill>
              </a:rPr>
              <a:t>Data logging to memory card and communicate test results to </a:t>
            </a:r>
            <a:r>
              <a:rPr lang="en-US" sz="800" kern="0" err="1">
                <a:solidFill>
                  <a:srgbClr val="004975"/>
                </a:solidFill>
              </a:rPr>
              <a:t>Ethernet,USB</a:t>
            </a:r>
            <a:r>
              <a:rPr lang="en-US" sz="800" kern="0">
                <a:solidFill>
                  <a:srgbClr val="004975"/>
                </a:solidFill>
              </a:rPr>
              <a:t> </a:t>
            </a:r>
            <a:r>
              <a:rPr lang="en-US" sz="800" kern="0" err="1">
                <a:solidFill>
                  <a:srgbClr val="004975"/>
                </a:solidFill>
              </a:rPr>
              <a:t>etc</a:t>
            </a:r>
            <a:endParaRPr lang="en-US" sz="800" kern="0">
              <a:solidFill>
                <a:srgbClr val="004975"/>
              </a:solidFill>
            </a:endParaRP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US" sz="800" kern="0">
                <a:solidFill>
                  <a:srgbClr val="004975"/>
                </a:solidFill>
              </a:rPr>
              <a:t>Networking and Communication Protocol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5DC98DC-6223-58D2-5875-7E4B82EE2C15}"/>
              </a:ext>
            </a:extLst>
          </p:cNvPr>
          <p:cNvSpPr txBox="1"/>
          <p:nvPr/>
        </p:nvSpPr>
        <p:spPr>
          <a:xfrm>
            <a:off x="267399" y="2934031"/>
            <a:ext cx="3119857" cy="1512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27205B-56DF-770E-0D6B-96ABDB4EE1EF}"/>
              </a:ext>
            </a:extLst>
          </p:cNvPr>
          <p:cNvSpPr txBox="1"/>
          <p:nvPr/>
        </p:nvSpPr>
        <p:spPr>
          <a:xfrm>
            <a:off x="3539245" y="966718"/>
            <a:ext cx="3729956" cy="17282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marR="0" indent="-28575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69C8BEC-A78F-8140-3720-E677E764597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8948" y="866087"/>
            <a:ext cx="1329006" cy="74081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6580C34-31E5-9BF0-79E3-EEF835297B3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42196" y="2293248"/>
            <a:ext cx="1440501" cy="1000164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7F91FAA2-EB54-F22A-8BB4-4E758407EFF7}"/>
              </a:ext>
            </a:extLst>
          </p:cNvPr>
          <p:cNvSpPr txBox="1"/>
          <p:nvPr/>
        </p:nvSpPr>
        <p:spPr>
          <a:xfrm>
            <a:off x="1741766" y="2370430"/>
            <a:ext cx="3377588" cy="15088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marR="0" indent="-285750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800" kern="0">
                <a:solidFill>
                  <a:srgbClr val="004975"/>
                </a:solidFill>
              </a:rPr>
              <a:t>Enables measurement of both torque and angle during tightening process</a:t>
            </a:r>
          </a:p>
          <a:p>
            <a:pPr marL="285750" marR="0" indent="-285750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800" kern="0">
                <a:solidFill>
                  <a:srgbClr val="004975"/>
                </a:solidFill>
              </a:rPr>
              <a:t>Covers range of 3-800 Nm </a:t>
            </a:r>
          </a:p>
          <a:p>
            <a:pPr marL="285750" marR="0" indent="-285750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800" kern="0">
                <a:solidFill>
                  <a:srgbClr val="004975"/>
                </a:solidFill>
              </a:rPr>
              <a:t>Transfers </a:t>
            </a:r>
            <a:r>
              <a:rPr lang="en-US" sz="800" kern="0" err="1">
                <a:solidFill>
                  <a:srgbClr val="004975"/>
                </a:solidFill>
              </a:rPr>
              <a:t>Tighetning</a:t>
            </a:r>
            <a:r>
              <a:rPr lang="en-US" sz="800" kern="0">
                <a:solidFill>
                  <a:srgbClr val="004975"/>
                </a:solidFill>
              </a:rPr>
              <a:t> results to any IT system</a:t>
            </a:r>
          </a:p>
          <a:p>
            <a:pPr marL="285750" marR="0" indent="-285750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800" kern="0" err="1">
                <a:solidFill>
                  <a:srgbClr val="004975"/>
                </a:solidFill>
              </a:rPr>
              <a:t>WiFi</a:t>
            </a:r>
            <a:r>
              <a:rPr lang="en-US" sz="800" kern="0">
                <a:solidFill>
                  <a:srgbClr val="004975"/>
                </a:solidFill>
              </a:rPr>
              <a:t> based communica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806E179-B26C-8D4A-AF9F-195AD0F843D5}"/>
              </a:ext>
            </a:extLst>
          </p:cNvPr>
          <p:cNvSpPr txBox="1"/>
          <p:nvPr/>
        </p:nvSpPr>
        <p:spPr>
          <a:xfrm>
            <a:off x="419256" y="1669005"/>
            <a:ext cx="2198314" cy="2453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ress Fit System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30C1F0-02AB-0AD1-7C50-F9DEF3705C47}"/>
              </a:ext>
            </a:extLst>
          </p:cNvPr>
          <p:cNvSpPr txBox="1"/>
          <p:nvPr/>
        </p:nvSpPr>
        <p:spPr>
          <a:xfrm>
            <a:off x="1913280" y="714844"/>
            <a:ext cx="3251929" cy="1728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CC0099"/>
                </a:solidFill>
                <a:effectLst/>
                <a:uLnTx/>
                <a:uFillTx/>
              </a:rPr>
              <a:t>Product Descrip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9FD6F0D-7620-BB0E-EA83-535D94AAEEE8}"/>
              </a:ext>
            </a:extLst>
          </p:cNvPr>
          <p:cNvSpPr txBox="1"/>
          <p:nvPr/>
        </p:nvSpPr>
        <p:spPr>
          <a:xfrm>
            <a:off x="7046500" y="723425"/>
            <a:ext cx="2654436" cy="3079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CC0099"/>
                </a:solidFill>
                <a:effectLst/>
                <a:uLnTx/>
                <a:uFillTx/>
              </a:rPr>
              <a:t>Technologies and Knowledge required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82EB3ED-679E-D060-B680-AB79BB0D9F99}"/>
              </a:ext>
            </a:extLst>
          </p:cNvPr>
          <p:cNvSpPr txBox="1"/>
          <p:nvPr/>
        </p:nvSpPr>
        <p:spPr>
          <a:xfrm>
            <a:off x="1717023" y="1043896"/>
            <a:ext cx="4047059" cy="13553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US" sz="800" kern="0" err="1">
                <a:solidFill>
                  <a:srgbClr val="004975"/>
                </a:solidFill>
              </a:rPr>
              <a:t>Intutive</a:t>
            </a:r>
            <a:r>
              <a:rPr lang="en-US" sz="800" kern="0">
                <a:solidFill>
                  <a:srgbClr val="004975"/>
                </a:solidFill>
              </a:rPr>
              <a:t> user interface that saves commissioning and engineering time using automatic drive control and parameterization</a:t>
            </a: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US" sz="800" kern="0">
                <a:solidFill>
                  <a:srgbClr val="004975"/>
                </a:solidFill>
              </a:rPr>
              <a:t>Can be used for </a:t>
            </a:r>
            <a:r>
              <a:rPr lang="en-US" sz="800" kern="0" err="1">
                <a:solidFill>
                  <a:srgbClr val="004975"/>
                </a:solidFill>
              </a:rPr>
              <a:t>Pressing,Joining,Crimping</a:t>
            </a:r>
            <a:r>
              <a:rPr lang="en-US" sz="800" kern="0">
                <a:solidFill>
                  <a:srgbClr val="004975"/>
                </a:solidFill>
              </a:rPr>
              <a:t> </a:t>
            </a:r>
            <a:r>
              <a:rPr lang="en-US" sz="800" kern="0" err="1">
                <a:solidFill>
                  <a:srgbClr val="004975"/>
                </a:solidFill>
              </a:rPr>
              <a:t>etc</a:t>
            </a:r>
            <a:endParaRPr lang="en-US" sz="800" kern="0">
              <a:solidFill>
                <a:srgbClr val="004975"/>
              </a:solidFill>
            </a:endParaRP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US" sz="800" kern="0">
                <a:solidFill>
                  <a:srgbClr val="004975"/>
                </a:solidFill>
              </a:rPr>
              <a:t>Force Range of 2 to 30kN</a:t>
            </a: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US" sz="800" kern="0">
                <a:solidFill>
                  <a:srgbClr val="004975"/>
                </a:solidFill>
              </a:rPr>
              <a:t>Integration to Higher Level Machines Infrastructure using Field Bus protocols</a:t>
            </a: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US" sz="800" kern="0">
                <a:solidFill>
                  <a:srgbClr val="004975"/>
                </a:solidFill>
              </a:rPr>
              <a:t>Program Creating using web interfaces – drag and drop configura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BBEAA15-B96F-482D-B71B-28DA8EE1882E}"/>
              </a:ext>
            </a:extLst>
          </p:cNvPr>
          <p:cNvSpPr txBox="1"/>
          <p:nvPr/>
        </p:nvSpPr>
        <p:spPr>
          <a:xfrm>
            <a:off x="6856031" y="1039137"/>
            <a:ext cx="2429819" cy="12597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marR="0" indent="-285750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800" kern="0">
                <a:solidFill>
                  <a:srgbClr val="004975"/>
                </a:solidFill>
              </a:rPr>
              <a:t>Web App Frontend Technologies like </a:t>
            </a:r>
            <a:r>
              <a:rPr lang="en-US" sz="800" kern="0" err="1">
                <a:solidFill>
                  <a:srgbClr val="004975"/>
                </a:solidFill>
              </a:rPr>
              <a:t>Angular,React</a:t>
            </a:r>
            <a:r>
              <a:rPr lang="en-US" sz="800" kern="0">
                <a:solidFill>
                  <a:srgbClr val="004975"/>
                </a:solidFill>
              </a:rPr>
              <a:t> for configuration of the drives</a:t>
            </a:r>
          </a:p>
          <a:p>
            <a:pPr marL="285750" marR="0" indent="-285750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800" kern="0">
                <a:solidFill>
                  <a:srgbClr val="004975"/>
                </a:solidFill>
              </a:rPr>
              <a:t>Backend technologies like </a:t>
            </a:r>
            <a:r>
              <a:rPr lang="en-US" sz="800" kern="0" err="1">
                <a:solidFill>
                  <a:srgbClr val="004975"/>
                </a:solidFill>
              </a:rPr>
              <a:t>C#,Python</a:t>
            </a:r>
            <a:endParaRPr lang="en-US" sz="800" kern="0">
              <a:solidFill>
                <a:srgbClr val="004975"/>
              </a:solidFill>
            </a:endParaRPr>
          </a:p>
          <a:p>
            <a:pPr marL="285750" marR="0" indent="-285750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800" kern="0" err="1">
                <a:solidFill>
                  <a:srgbClr val="004975"/>
                </a:solidFill>
              </a:rPr>
              <a:t>Embeeded</a:t>
            </a:r>
            <a:r>
              <a:rPr lang="en-US" sz="800" kern="0">
                <a:solidFill>
                  <a:srgbClr val="004975"/>
                </a:solidFill>
              </a:rPr>
              <a:t> Programming Language like C/C++,Python</a:t>
            </a:r>
          </a:p>
          <a:p>
            <a:pPr marL="285750" marR="0" indent="-285750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800" kern="0">
                <a:solidFill>
                  <a:srgbClr val="004975"/>
                </a:solidFill>
              </a:rPr>
              <a:t>Embedded Development Tools</a:t>
            </a:r>
          </a:p>
          <a:p>
            <a:pPr marL="285750" marR="0" indent="-285750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800" kern="0">
                <a:solidFill>
                  <a:srgbClr val="004975"/>
                </a:solidFill>
              </a:rPr>
              <a:t>Communication Protocols -Field Bus </a:t>
            </a:r>
            <a:r>
              <a:rPr lang="en-US" sz="800" kern="0" err="1">
                <a:solidFill>
                  <a:srgbClr val="004975"/>
                </a:solidFill>
              </a:rPr>
              <a:t>Protocols,CAN,ModBus</a:t>
            </a:r>
            <a:endParaRPr lang="en-US" sz="800" kern="0">
              <a:solidFill>
                <a:srgbClr val="004975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8933C34-C14A-4AA7-5CED-49F605DE3DE5}"/>
              </a:ext>
            </a:extLst>
          </p:cNvPr>
          <p:cNvSpPr txBox="1"/>
          <p:nvPr/>
        </p:nvSpPr>
        <p:spPr>
          <a:xfrm>
            <a:off x="267399" y="3281359"/>
            <a:ext cx="2313984" cy="465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Opex</a:t>
            </a: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Torque Wrench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3561B9B-23DB-EA98-C064-05C79C16659E}"/>
              </a:ext>
            </a:extLst>
          </p:cNvPr>
          <p:cNvSpPr txBox="1"/>
          <p:nvPr/>
        </p:nvSpPr>
        <p:spPr>
          <a:xfrm>
            <a:off x="6835666" y="2370429"/>
            <a:ext cx="2429819" cy="15088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marR="0" indent="-28575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lang="en-US" sz="800" kern="0" err="1">
                <a:solidFill>
                  <a:srgbClr val="004975"/>
                </a:solidFill>
              </a:rPr>
              <a:t>Embeeded</a:t>
            </a:r>
            <a:r>
              <a:rPr lang="en-US" sz="800" kern="0">
                <a:solidFill>
                  <a:srgbClr val="004975"/>
                </a:solidFill>
              </a:rPr>
              <a:t> Programming Language like C/C++,Python</a:t>
            </a:r>
          </a:p>
          <a:p>
            <a:pPr marL="285750" marR="0" indent="-28575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</a:rPr>
              <a:t>Embedded Development Tools</a:t>
            </a:r>
          </a:p>
          <a:p>
            <a:pPr marL="285750" marR="0" indent="-28575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lang="en-US" sz="800" kern="0">
                <a:solidFill>
                  <a:srgbClr val="004975"/>
                </a:solidFill>
              </a:rPr>
              <a:t>Communication Protocols -Field Bus </a:t>
            </a:r>
            <a:r>
              <a:rPr lang="en-US" sz="800" kern="0" err="1">
                <a:solidFill>
                  <a:srgbClr val="004975"/>
                </a:solidFill>
              </a:rPr>
              <a:t>Protocols,CAN,ModBus,Ethernet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004975"/>
              </a:solidFill>
              <a:effectLst/>
              <a:uLnTx/>
              <a:uFillTx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EA73578-A043-A5E9-A4FC-18E519071F2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03864" y="3918581"/>
            <a:ext cx="1579174" cy="838936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CFEEBAF0-9098-7078-3A5F-CE2F66C43066}"/>
              </a:ext>
            </a:extLst>
          </p:cNvPr>
          <p:cNvSpPr txBox="1"/>
          <p:nvPr/>
        </p:nvSpPr>
        <p:spPr>
          <a:xfrm>
            <a:off x="268288" y="4780510"/>
            <a:ext cx="584420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ASS Test System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D4B9708-A7B5-7586-FBE1-395FF0822D70}"/>
              </a:ext>
            </a:extLst>
          </p:cNvPr>
          <p:cNvSpPr txBox="1"/>
          <p:nvPr/>
        </p:nvSpPr>
        <p:spPr>
          <a:xfrm>
            <a:off x="1653872" y="4034925"/>
            <a:ext cx="5844208" cy="5899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indent="-285750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800" kern="0">
                <a:solidFill>
                  <a:srgbClr val="004975"/>
                </a:solidFill>
              </a:rPr>
              <a:t>Torque Angle Slip standard  testing system is pioneered method for testing the safety critical bolted joints</a:t>
            </a:r>
          </a:p>
          <a:p>
            <a:pPr marL="285750" marR="0" indent="-285750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800" kern="0">
                <a:solidFill>
                  <a:srgbClr val="004975"/>
                </a:solidFill>
              </a:rPr>
              <a:t>On the fly testing process, quality can be ensured during ongoing production</a:t>
            </a:r>
          </a:p>
          <a:p>
            <a:pPr marL="285750" marR="0" indent="-285750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800" kern="0">
                <a:solidFill>
                  <a:srgbClr val="004975"/>
                </a:solidFill>
              </a:rPr>
              <a:t>Operation Reliability</a:t>
            </a:r>
          </a:p>
        </p:txBody>
      </p:sp>
    </p:spTree>
    <p:extLst>
      <p:ext uri="{BB962C8B-B14F-4D97-AF65-F5344CB8AC3E}">
        <p14:creationId xmlns:p14="http://schemas.microsoft.com/office/powerpoint/2010/main" val="254773191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E9178552-29A9-03C8-55C8-89532589787A}"/>
              </a:ext>
            </a:extLst>
          </p:cNvPr>
          <p:cNvSpPr txBox="1"/>
          <p:nvPr/>
        </p:nvSpPr>
        <p:spPr>
          <a:xfrm>
            <a:off x="259199" y="985425"/>
            <a:ext cx="10450800" cy="50707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500"/>
              </a:spcBef>
              <a:spcAft>
                <a:spcPts val="0"/>
              </a:spcAft>
            </a:pPr>
            <a:r>
              <a:rPr lang="en-US" kern="0">
                <a:solidFill>
                  <a:srgbClr val="000000"/>
                </a:solidFill>
              </a:rPr>
              <a:t>   </a:t>
            </a:r>
          </a:p>
          <a:p>
            <a:pPr fontAlgn="auto">
              <a:spcBef>
                <a:spcPts val="500"/>
              </a:spcBef>
              <a:spcAft>
                <a:spcPts val="0"/>
              </a:spcAft>
            </a:pPr>
            <a:r>
              <a:rPr lang="en-US" kern="0">
                <a:solidFill>
                  <a:srgbClr val="000000"/>
                </a:solidFill>
              </a:rPr>
              <a:t>  </a:t>
            </a:r>
          </a:p>
          <a:p>
            <a:pPr fontAlgn="auto">
              <a:spcBef>
                <a:spcPts val="500"/>
              </a:spcBef>
              <a:spcAft>
                <a:spcPts val="0"/>
              </a:spcAft>
            </a:pPr>
            <a:endParaRPr lang="en-US" kern="0">
              <a:solidFill>
                <a:srgbClr val="000000"/>
              </a:solidFill>
            </a:endParaRPr>
          </a:p>
          <a:p>
            <a:pPr fontAlgn="auto">
              <a:spcBef>
                <a:spcPts val="500"/>
              </a:spcBef>
              <a:spcAft>
                <a:spcPts val="0"/>
              </a:spcAft>
            </a:pPr>
            <a:endParaRPr lang="en-US" kern="0">
              <a:solidFill>
                <a:srgbClr val="000000"/>
              </a:solidFill>
            </a:endParaRPr>
          </a:p>
          <a:p>
            <a:pPr fontAlgn="auto">
              <a:spcBef>
                <a:spcPts val="500"/>
              </a:spcBef>
              <a:spcAft>
                <a:spcPts val="0"/>
              </a:spcAft>
            </a:pPr>
            <a:endParaRPr lang="en-US" kern="0">
              <a:solidFill>
                <a:srgbClr val="000000"/>
              </a:solidFill>
            </a:endParaRPr>
          </a:p>
          <a:p>
            <a:pPr fontAlgn="auto">
              <a:spcBef>
                <a:spcPts val="500"/>
              </a:spcBef>
              <a:spcAft>
                <a:spcPts val="0"/>
              </a:spcAft>
            </a:pPr>
            <a:endParaRPr lang="en-US" kern="0">
              <a:solidFill>
                <a:srgbClr val="000000"/>
              </a:solidFill>
            </a:endParaRPr>
          </a:p>
          <a:p>
            <a:pPr fontAlgn="auto">
              <a:spcBef>
                <a:spcPts val="500"/>
              </a:spcBef>
              <a:spcAft>
                <a:spcPts val="0"/>
              </a:spcAft>
            </a:pPr>
            <a:endParaRPr lang="en-US" kern="0">
              <a:solidFill>
                <a:srgbClr val="000000"/>
              </a:solidFill>
            </a:endParaRPr>
          </a:p>
          <a:p>
            <a:pPr fontAlgn="auto">
              <a:spcBef>
                <a:spcPts val="500"/>
              </a:spcBef>
              <a:spcAft>
                <a:spcPts val="0"/>
              </a:spcAft>
            </a:pPr>
            <a:endParaRPr lang="en-US" kern="0">
              <a:solidFill>
                <a:srgbClr val="000000"/>
              </a:solidFill>
            </a:endParaRPr>
          </a:p>
          <a:p>
            <a:pPr fontAlgn="auto">
              <a:spcBef>
                <a:spcPts val="500"/>
              </a:spcBef>
              <a:spcAft>
                <a:spcPts val="0"/>
              </a:spcAft>
            </a:pPr>
            <a:endParaRPr lang="en-US" kern="0">
              <a:solidFill>
                <a:srgbClr val="000000"/>
              </a:solidFill>
            </a:endParaRPr>
          </a:p>
          <a:p>
            <a:pPr fontAlgn="auto">
              <a:spcBef>
                <a:spcPts val="500"/>
              </a:spcBef>
              <a:spcAft>
                <a:spcPts val="0"/>
              </a:spcAft>
            </a:pPr>
            <a:endParaRPr lang="en-US" kern="0">
              <a:solidFill>
                <a:srgbClr val="000000"/>
              </a:solidFill>
            </a:endParaRPr>
          </a:p>
          <a:p>
            <a:pPr fontAlgn="auto">
              <a:spcBef>
                <a:spcPts val="500"/>
              </a:spcBef>
              <a:spcAft>
                <a:spcPts val="0"/>
              </a:spcAft>
            </a:pPr>
            <a:endParaRPr lang="en-US" kern="0">
              <a:solidFill>
                <a:srgbClr val="000000"/>
              </a:solidFill>
            </a:endParaRPr>
          </a:p>
          <a:p>
            <a:pPr fontAlgn="auto">
              <a:spcBef>
                <a:spcPts val="500"/>
              </a:spcBef>
              <a:spcAft>
                <a:spcPts val="0"/>
              </a:spcAft>
            </a:pPr>
            <a:endParaRPr lang="en-US" kern="0">
              <a:solidFill>
                <a:srgbClr val="000000"/>
              </a:solidFill>
            </a:endParaRPr>
          </a:p>
          <a:p>
            <a:pPr fontAlgn="auto">
              <a:spcBef>
                <a:spcPts val="500"/>
              </a:spcBef>
              <a:spcAft>
                <a:spcPts val="0"/>
              </a:spcAft>
            </a:pPr>
            <a:endParaRPr lang="en-US" kern="0">
              <a:solidFill>
                <a:srgbClr val="000000"/>
              </a:solidFill>
            </a:endParaRPr>
          </a:p>
          <a:p>
            <a:pPr fontAlgn="auto">
              <a:spcBef>
                <a:spcPts val="500"/>
              </a:spcBef>
              <a:spcAft>
                <a:spcPts val="0"/>
              </a:spcAft>
            </a:pPr>
            <a:endParaRPr lang="en-US" kern="0">
              <a:solidFill>
                <a:srgbClr val="000000"/>
              </a:solidFill>
            </a:endParaRPr>
          </a:p>
          <a:p>
            <a:pPr fontAlgn="auto">
              <a:spcBef>
                <a:spcPts val="500"/>
              </a:spcBef>
              <a:spcAft>
                <a:spcPts val="0"/>
              </a:spcAft>
            </a:pPr>
            <a:endParaRPr lang="en-US" kern="0">
              <a:solidFill>
                <a:srgbClr val="000000"/>
              </a:solidFill>
            </a:endParaRPr>
          </a:p>
          <a:p>
            <a:pPr fontAlgn="auto">
              <a:spcBef>
                <a:spcPts val="500"/>
              </a:spcBef>
              <a:spcAft>
                <a:spcPts val="0"/>
              </a:spcAft>
            </a:pPr>
            <a:r>
              <a:rPr lang="en-US" kern="0">
                <a:solidFill>
                  <a:srgbClr val="000000"/>
                </a:solidFill>
              </a:rPr>
              <a:t> </a:t>
            </a:r>
          </a:p>
          <a:p>
            <a:pPr fontAlgn="auto">
              <a:spcBef>
                <a:spcPts val="500"/>
              </a:spcBef>
              <a:spcAft>
                <a:spcPts val="0"/>
              </a:spcAft>
            </a:pPr>
            <a:endParaRPr lang="en-US" kern="0">
              <a:solidFill>
                <a:srgbClr val="000000"/>
              </a:solidFill>
            </a:endParaRPr>
          </a:p>
          <a:p>
            <a:pPr fontAlgn="auto">
              <a:spcBef>
                <a:spcPts val="500"/>
              </a:spcBef>
              <a:spcAft>
                <a:spcPts val="0"/>
              </a:spcAft>
            </a:pPr>
            <a:endParaRPr lang="en-US" kern="0">
              <a:solidFill>
                <a:srgbClr val="000000"/>
              </a:solidFill>
            </a:endParaRPr>
          </a:p>
          <a:p>
            <a:pPr fontAlgn="auto">
              <a:spcBef>
                <a:spcPts val="500"/>
              </a:spcBef>
              <a:spcAft>
                <a:spcPts val="0"/>
              </a:spcAft>
            </a:pPr>
            <a:endParaRPr lang="en-US" kern="0">
              <a:solidFill>
                <a:srgbClr val="000000"/>
              </a:solidFill>
            </a:endParaRP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kern="0">
              <a:solidFill>
                <a:srgbClr val="000000"/>
              </a:solidFill>
            </a:endParaRP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kern="0">
              <a:solidFill>
                <a:srgbClr val="000000"/>
              </a:solidFill>
            </a:endParaRP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kern="0">
              <a:solidFill>
                <a:srgbClr val="000000"/>
              </a:solidFill>
            </a:endParaRP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kern="0">
              <a:solidFill>
                <a:srgbClr val="000000"/>
              </a:solidFill>
            </a:endParaRPr>
          </a:p>
          <a:p>
            <a:pPr fontAlgn="auto">
              <a:spcBef>
                <a:spcPts val="500"/>
              </a:spcBef>
              <a:spcAft>
                <a:spcPts val="0"/>
              </a:spcAft>
            </a:pPr>
            <a:endParaRPr lang="en-US" kern="0">
              <a:solidFill>
                <a:srgbClr val="000000"/>
              </a:solidFill>
            </a:endParaRP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kern="0">
              <a:solidFill>
                <a:srgbClr val="000000"/>
              </a:solidFill>
            </a:endParaRP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kern="0">
              <a:solidFill>
                <a:srgbClr val="000000"/>
              </a:solidFill>
            </a:endParaRP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kern="0">
              <a:solidFill>
                <a:srgbClr val="000000"/>
              </a:solidFill>
            </a:endParaRP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kern="0">
                <a:solidFill>
                  <a:srgbClr val="000000"/>
                </a:solidFill>
              </a:rPr>
              <a:t>1.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36AF582-B041-8526-0164-E15834552264}"/>
              </a:ext>
            </a:extLst>
          </p:cNvPr>
          <p:cNvSpPr txBox="1"/>
          <p:nvPr/>
        </p:nvSpPr>
        <p:spPr>
          <a:xfrm>
            <a:off x="432262" y="4883728"/>
            <a:ext cx="980892" cy="5365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54644DC-6FDA-3847-CAA1-69C859B77EB8}"/>
              </a:ext>
            </a:extLst>
          </p:cNvPr>
          <p:cNvSpPr txBox="1"/>
          <p:nvPr/>
        </p:nvSpPr>
        <p:spPr>
          <a:xfrm>
            <a:off x="1508760" y="3262745"/>
            <a:ext cx="980892" cy="3740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EF461B6-CE78-3167-F202-FE2383828CEC}"/>
              </a:ext>
            </a:extLst>
          </p:cNvPr>
          <p:cNvSpPr txBox="1"/>
          <p:nvPr/>
        </p:nvSpPr>
        <p:spPr>
          <a:xfrm>
            <a:off x="1080656" y="4696691"/>
            <a:ext cx="856210" cy="2909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3BE3D22-F37A-84BC-A807-47BB910B3D28}"/>
              </a:ext>
            </a:extLst>
          </p:cNvPr>
          <p:cNvSpPr txBox="1"/>
          <p:nvPr/>
        </p:nvSpPr>
        <p:spPr>
          <a:xfrm>
            <a:off x="4896196" y="1562793"/>
            <a:ext cx="1878677" cy="5365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7315F72-D27E-29F2-0F91-80254C1CA8DE}"/>
              </a:ext>
            </a:extLst>
          </p:cNvPr>
          <p:cNvSpPr txBox="1"/>
          <p:nvPr/>
        </p:nvSpPr>
        <p:spPr>
          <a:xfrm>
            <a:off x="7863840" y="550314"/>
            <a:ext cx="2493818" cy="50707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tabLst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5F65CF9-E5CB-3376-CF44-499294329304}"/>
              </a:ext>
            </a:extLst>
          </p:cNvPr>
          <p:cNvSpPr txBox="1"/>
          <p:nvPr/>
        </p:nvSpPr>
        <p:spPr>
          <a:xfrm>
            <a:off x="259199" y="764771"/>
            <a:ext cx="9629770" cy="47715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500"/>
              </a:spcBef>
              <a:spcAft>
                <a:spcPts val="0"/>
              </a:spcAft>
            </a:pPr>
            <a:endParaRPr lang="en-US" kern="0">
              <a:solidFill>
                <a:srgbClr val="000000"/>
              </a:solidFill>
            </a:endParaRPr>
          </a:p>
          <a:p>
            <a:pPr fontAlgn="auto">
              <a:spcBef>
                <a:spcPts val="500"/>
              </a:spcBef>
              <a:spcAft>
                <a:spcPts val="0"/>
              </a:spcAft>
            </a:pPr>
            <a:endParaRPr lang="en-US" kern="0">
              <a:solidFill>
                <a:srgbClr val="000000"/>
              </a:solidFill>
            </a:endParaRPr>
          </a:p>
          <a:p>
            <a:pPr fontAlgn="auto">
              <a:spcBef>
                <a:spcPts val="500"/>
              </a:spcBef>
              <a:spcAft>
                <a:spcPts val="0"/>
              </a:spcAft>
            </a:pPr>
            <a:endParaRPr lang="en-US" kern="0">
              <a:solidFill>
                <a:srgbClr val="000000"/>
              </a:solidFill>
            </a:endParaRPr>
          </a:p>
          <a:p>
            <a:pPr fontAlgn="auto">
              <a:spcBef>
                <a:spcPts val="500"/>
              </a:spcBef>
              <a:spcAft>
                <a:spcPts val="0"/>
              </a:spcAft>
            </a:pPr>
            <a:endParaRPr lang="en-US" kern="0">
              <a:solidFill>
                <a:srgbClr val="000000"/>
              </a:solidFill>
            </a:endParaRPr>
          </a:p>
          <a:p>
            <a:pPr fontAlgn="auto">
              <a:spcBef>
                <a:spcPts val="500"/>
              </a:spcBef>
              <a:spcAft>
                <a:spcPts val="0"/>
              </a:spcAft>
            </a:pPr>
            <a:endParaRPr lang="en-US" kern="0">
              <a:solidFill>
                <a:srgbClr val="000000"/>
              </a:solidFill>
            </a:endParaRPr>
          </a:p>
          <a:p>
            <a:pPr fontAlgn="auto">
              <a:spcBef>
                <a:spcPts val="500"/>
              </a:spcBef>
              <a:spcAft>
                <a:spcPts val="0"/>
              </a:spcAft>
            </a:pPr>
            <a:endParaRPr lang="en-US" kern="0">
              <a:solidFill>
                <a:srgbClr val="000000"/>
              </a:solidFill>
            </a:endParaRPr>
          </a:p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kern="0">
              <a:solidFill>
                <a:srgbClr val="000000"/>
              </a:solidFill>
            </a:endParaRPr>
          </a:p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kern="0">
                <a:solidFill>
                  <a:srgbClr val="000000"/>
                </a:solidFill>
              </a:rPr>
              <a:t> 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1C6755A-040D-DA88-5E14-A9518A33F701}"/>
              </a:ext>
            </a:extLst>
          </p:cNvPr>
          <p:cNvSpPr txBox="1"/>
          <p:nvPr/>
        </p:nvSpPr>
        <p:spPr>
          <a:xfrm>
            <a:off x="361861" y="864524"/>
            <a:ext cx="8948394" cy="4555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28CB209-C185-2DFB-7C68-43F8F57D9A23}"/>
              </a:ext>
            </a:extLst>
          </p:cNvPr>
          <p:cNvSpPr txBox="1"/>
          <p:nvPr/>
        </p:nvSpPr>
        <p:spPr>
          <a:xfrm>
            <a:off x="361861" y="985425"/>
            <a:ext cx="9527108" cy="40022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kern="0">
              <a:solidFill>
                <a:srgbClr val="000000"/>
              </a:solidFill>
            </a:endParaRP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fontAlgn="auto">
              <a:spcBef>
                <a:spcPts val="500"/>
              </a:spcBef>
              <a:spcAft>
                <a:spcPts val="0"/>
              </a:spcAft>
            </a:pPr>
            <a:endParaRPr lang="en-US" kern="0">
              <a:solidFill>
                <a:srgbClr val="000000"/>
              </a:solidFill>
            </a:endParaRPr>
          </a:p>
          <a:p>
            <a:pPr fontAlgn="auto">
              <a:spcBef>
                <a:spcPts val="500"/>
              </a:spcBef>
              <a:spcAft>
                <a:spcPts val="0"/>
              </a:spcAft>
            </a:pPr>
            <a:r>
              <a:rPr lang="en-US" sz="120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.</a:t>
            </a: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endParaRPr lang="en-US" sz="120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fontAlgn="auto">
              <a:spcBef>
                <a:spcPts val="500"/>
              </a:spcBef>
              <a:spcAft>
                <a:spcPts val="0"/>
              </a:spcAft>
            </a:pPr>
            <a:endParaRPr lang="en-US" sz="1800">
              <a:effectLst/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fontAlgn="auto">
              <a:spcBef>
                <a:spcPts val="500"/>
              </a:spcBef>
              <a:spcAft>
                <a:spcPts val="0"/>
              </a:spcAft>
            </a:pPr>
            <a:endParaRPr lang="en-US" sz="1800">
              <a:effectLst/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fontAlgn="auto">
              <a:spcBef>
                <a:spcPts val="500"/>
              </a:spcBef>
              <a:spcAft>
                <a:spcPts val="0"/>
              </a:spcAft>
            </a:pPr>
            <a:endParaRPr lang="en-US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6ED9DA0-AB43-A428-2228-B46466399A72}"/>
              </a:ext>
            </a:extLst>
          </p:cNvPr>
          <p:cNvSpPr txBox="1"/>
          <p:nvPr/>
        </p:nvSpPr>
        <p:spPr>
          <a:xfrm>
            <a:off x="1125494" y="1459292"/>
            <a:ext cx="7026007" cy="18783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ctr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tabLst/>
            </a:pPr>
            <a:endParaRPr kumimoji="0" lang="en-US" sz="4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ACF1977-F87D-FADF-7BFD-8D4B4596180F}"/>
              </a:ext>
            </a:extLst>
          </p:cNvPr>
          <p:cNvSpPr/>
          <p:nvPr/>
        </p:nvSpPr>
        <p:spPr>
          <a:xfrm>
            <a:off x="2820121" y="1649894"/>
            <a:ext cx="403187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0" kern="0" cap="none" spc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</a:rPr>
              <a:t>THANKYOU</a:t>
            </a:r>
            <a:endParaRPr lang="en-US" sz="5400" b="0" cap="none" spc="0">
              <a:ln w="0"/>
              <a:gradFill>
                <a:gsLst>
                  <a:gs pos="0">
                    <a:schemeClr val="accent5">
                      <a:lumMod val="50000"/>
                    </a:schemeClr>
                  </a:gs>
                  <a:gs pos="5000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5400000"/>
              </a:gradFill>
              <a:effectLst>
                <a:reflection blurRad="6350" stA="53000" endA="300" endPos="35500" dir="5400000" sy="-90000" algn="bl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52381068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3766C8-D9EF-9806-0CD7-B9CF85F496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1F220BD-AA32-46D9-CCB5-ADBE4403255B}"/>
              </a:ext>
            </a:extLst>
          </p:cNvPr>
          <p:cNvCxnSpPr>
            <a:cxnSpLocks/>
          </p:cNvCxnSpPr>
          <p:nvPr/>
        </p:nvCxnSpPr>
        <p:spPr>
          <a:xfrm flipH="1">
            <a:off x="302930" y="648194"/>
            <a:ext cx="9899849" cy="0"/>
          </a:xfrm>
          <a:prstGeom prst="line">
            <a:avLst/>
          </a:prstGeom>
          <a:ln w="19050">
            <a:solidFill>
              <a:srgbClr val="BD0F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D65C4D-E364-E515-937E-EF1B03467D5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IN"/>
              <a:t>Open Point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9B0471B-2250-F366-8FFB-0BC46909CB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248" y="743749"/>
            <a:ext cx="5414017" cy="4617959"/>
          </a:xfrm>
        </p:spPr>
        <p:txBody>
          <a:bodyPr anchor="ctr"/>
          <a:lstStyle/>
          <a:p>
            <a:pPr marL="457200" indent="-457200">
              <a:buFont typeface="Wingdings" panose="05000000000000000000" pitchFamily="2" charset="2"/>
              <a:buChar char="Ø"/>
            </a:pP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B4B90C2-C68C-F6DA-073B-72C8B9185D75}"/>
              </a:ext>
            </a:extLst>
          </p:cNvPr>
          <p:cNvSpPr txBox="1">
            <a:spLocks/>
          </p:cNvSpPr>
          <p:nvPr/>
        </p:nvSpPr>
        <p:spPr>
          <a:xfrm>
            <a:off x="302930" y="3507098"/>
            <a:ext cx="10450800" cy="3888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333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sz="280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100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57849BA8-3F84-9013-D8E1-8C5F2E2F3B74}"/>
              </a:ext>
            </a:extLst>
          </p:cNvPr>
          <p:cNvSpPr txBox="1">
            <a:spLocks/>
          </p:cNvSpPr>
          <p:nvPr/>
        </p:nvSpPr>
        <p:spPr>
          <a:xfrm>
            <a:off x="4817352" y="722775"/>
            <a:ext cx="1334496" cy="3888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333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sz="280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757D1E3B-D4E6-401E-F1C9-5DDC90F6996B}"/>
              </a:ext>
            </a:extLst>
          </p:cNvPr>
          <p:cNvSpPr txBox="1">
            <a:spLocks/>
          </p:cNvSpPr>
          <p:nvPr/>
        </p:nvSpPr>
        <p:spPr>
          <a:xfrm>
            <a:off x="8280639" y="722775"/>
            <a:ext cx="1334496" cy="3163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333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sz="280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5F5FECA-4413-D91F-059A-6A36868599A8}"/>
              </a:ext>
            </a:extLst>
          </p:cNvPr>
          <p:cNvSpPr txBox="1"/>
          <p:nvPr/>
        </p:nvSpPr>
        <p:spPr>
          <a:xfrm>
            <a:off x="3077936" y="1200150"/>
            <a:ext cx="48985" cy="11511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3051448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E6095FDC-BE8F-3F66-6518-ABB636C6BFEF}"/>
              </a:ext>
            </a:extLst>
          </p:cNvPr>
          <p:cNvSpPr txBox="1">
            <a:spLocks/>
          </p:cNvSpPr>
          <p:nvPr/>
        </p:nvSpPr>
        <p:spPr>
          <a:xfrm>
            <a:off x="259200" y="259200"/>
            <a:ext cx="9576563" cy="388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51982" indent="-251982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7563" indent="-27358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0746" indent="-205185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Bosch Office Sans" pitchFamily="2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en-US" sz="2800" spc="-55">
                <a:solidFill>
                  <a:srgbClr val="BC0F79"/>
                </a:solidFill>
                <a:latin typeface="Bosch Sans Bold" panose="020B0704020202020204" pitchFamily="34" charset="0"/>
                <a:cs typeface="Arial"/>
              </a:rPr>
              <a:t>Journey so far</a:t>
            </a:r>
            <a:endParaRPr lang="en-US" sz="2800">
              <a:solidFill>
                <a:prstClr val="black"/>
              </a:solidFill>
              <a:latin typeface="Bosch Sans Bold" panose="020B0704020202020204" pitchFamily="34" charset="0"/>
              <a:cs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D227113-E2B7-C5D3-A0AD-EBFB5321C46E}"/>
              </a:ext>
            </a:extLst>
          </p:cNvPr>
          <p:cNvSpPr txBox="1"/>
          <p:nvPr/>
        </p:nvSpPr>
        <p:spPr>
          <a:xfrm>
            <a:off x="602248" y="2950644"/>
            <a:ext cx="593747" cy="1787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020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5A9237B-C31F-FE31-F257-FCD43CFBB5E4}"/>
              </a:ext>
            </a:extLst>
          </p:cNvPr>
          <p:cNvSpPr txBox="1"/>
          <p:nvPr/>
        </p:nvSpPr>
        <p:spPr>
          <a:xfrm>
            <a:off x="4420063" y="4352886"/>
            <a:ext cx="655825" cy="2659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024-Oct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D9C08924-5195-C5AD-F095-1D2E0D3AA243}"/>
              </a:ext>
            </a:extLst>
          </p:cNvPr>
          <p:cNvSpPr txBox="1"/>
          <p:nvPr/>
        </p:nvSpPr>
        <p:spPr>
          <a:xfrm flipH="1">
            <a:off x="5144445" y="3491249"/>
            <a:ext cx="1239897" cy="5601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025-March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8A95736-22E7-86DE-CA44-9269F786D133}"/>
              </a:ext>
            </a:extLst>
          </p:cNvPr>
          <p:cNvSpPr txBox="1"/>
          <p:nvPr/>
        </p:nvSpPr>
        <p:spPr>
          <a:xfrm>
            <a:off x="4709375" y="2020869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4BB9B74B-2C74-D916-6597-B5923EDA49A1}"/>
              </a:ext>
            </a:extLst>
          </p:cNvPr>
          <p:cNvSpPr txBox="1"/>
          <p:nvPr/>
        </p:nvSpPr>
        <p:spPr>
          <a:xfrm>
            <a:off x="8113970" y="38810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9B86C98-A54F-CA3B-A130-4D34BE1B8A70}"/>
              </a:ext>
            </a:extLst>
          </p:cNvPr>
          <p:cNvSpPr txBox="1"/>
          <p:nvPr/>
        </p:nvSpPr>
        <p:spPr>
          <a:xfrm>
            <a:off x="4227738" y="1706222"/>
            <a:ext cx="1204545" cy="1652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024- Dec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3B9273C-EEBB-A330-7E4A-866E8B0ECA94}"/>
              </a:ext>
            </a:extLst>
          </p:cNvPr>
          <p:cNvSpPr txBox="1"/>
          <p:nvPr/>
        </p:nvSpPr>
        <p:spPr>
          <a:xfrm>
            <a:off x="7140271" y="2286871"/>
            <a:ext cx="1185082" cy="2379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025-Feb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6FDF2BA-6B3B-BDED-B65D-8E5766BA9B01}"/>
              </a:ext>
            </a:extLst>
          </p:cNvPr>
          <p:cNvSpPr txBox="1"/>
          <p:nvPr/>
        </p:nvSpPr>
        <p:spPr>
          <a:xfrm>
            <a:off x="8006963" y="4360627"/>
            <a:ext cx="1242843" cy="1726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025-July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BAD9D445-2F20-4AF4-3199-69FDDAB2BCDD}"/>
              </a:ext>
            </a:extLst>
          </p:cNvPr>
          <p:cNvSpPr txBox="1"/>
          <p:nvPr/>
        </p:nvSpPr>
        <p:spPr>
          <a:xfrm>
            <a:off x="9039681" y="2286870"/>
            <a:ext cx="999997" cy="2716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TBA</a:t>
            </a:r>
          </a:p>
        </p:txBody>
      </p:sp>
      <p:sp>
        <p:nvSpPr>
          <p:cNvPr id="66" name="Google Shape;318;p19">
            <a:extLst>
              <a:ext uri="{FF2B5EF4-FFF2-40B4-BE49-F238E27FC236}">
                <a16:creationId xmlns:a16="http://schemas.microsoft.com/office/drawing/2014/main" id="{B7D3748F-601E-D939-FE0C-D58098E442AF}"/>
              </a:ext>
            </a:extLst>
          </p:cNvPr>
          <p:cNvSpPr/>
          <p:nvPr/>
        </p:nvSpPr>
        <p:spPr>
          <a:xfrm>
            <a:off x="2779152" y="3211166"/>
            <a:ext cx="554981" cy="566420"/>
          </a:xfrm>
          <a:custGeom>
            <a:avLst/>
            <a:gdLst/>
            <a:ahLst/>
            <a:cxnLst/>
            <a:rect l="l" t="t" r="r" b="b"/>
            <a:pathLst>
              <a:path w="6740" h="6794" extrusionOk="0">
                <a:moveTo>
                  <a:pt x="3370" y="1"/>
                </a:moveTo>
                <a:lnTo>
                  <a:pt x="3044" y="55"/>
                </a:lnTo>
                <a:lnTo>
                  <a:pt x="2664" y="109"/>
                </a:lnTo>
                <a:lnTo>
                  <a:pt x="2392" y="164"/>
                </a:lnTo>
                <a:lnTo>
                  <a:pt x="2066" y="272"/>
                </a:lnTo>
                <a:lnTo>
                  <a:pt x="1468" y="598"/>
                </a:lnTo>
                <a:lnTo>
                  <a:pt x="979" y="1033"/>
                </a:lnTo>
                <a:lnTo>
                  <a:pt x="598" y="1522"/>
                </a:lnTo>
                <a:lnTo>
                  <a:pt x="272" y="2066"/>
                </a:lnTo>
                <a:lnTo>
                  <a:pt x="164" y="2392"/>
                </a:lnTo>
                <a:lnTo>
                  <a:pt x="55" y="2718"/>
                </a:lnTo>
                <a:lnTo>
                  <a:pt x="1" y="3044"/>
                </a:lnTo>
                <a:lnTo>
                  <a:pt x="1" y="3370"/>
                </a:lnTo>
                <a:lnTo>
                  <a:pt x="1" y="3750"/>
                </a:lnTo>
                <a:lnTo>
                  <a:pt x="55" y="4076"/>
                </a:lnTo>
                <a:lnTo>
                  <a:pt x="164" y="4403"/>
                </a:lnTo>
                <a:lnTo>
                  <a:pt x="272" y="4729"/>
                </a:lnTo>
                <a:lnTo>
                  <a:pt x="598" y="5272"/>
                </a:lnTo>
                <a:lnTo>
                  <a:pt x="979" y="5761"/>
                </a:lnTo>
                <a:lnTo>
                  <a:pt x="1468" y="6196"/>
                </a:lnTo>
                <a:lnTo>
                  <a:pt x="2066" y="6522"/>
                </a:lnTo>
                <a:lnTo>
                  <a:pt x="2392" y="6631"/>
                </a:lnTo>
                <a:lnTo>
                  <a:pt x="2664" y="6685"/>
                </a:lnTo>
                <a:lnTo>
                  <a:pt x="3044" y="6739"/>
                </a:lnTo>
                <a:lnTo>
                  <a:pt x="3370" y="6794"/>
                </a:lnTo>
                <a:lnTo>
                  <a:pt x="3696" y="6739"/>
                </a:lnTo>
                <a:lnTo>
                  <a:pt x="4077" y="6685"/>
                </a:lnTo>
                <a:lnTo>
                  <a:pt x="4348" y="6631"/>
                </a:lnTo>
                <a:lnTo>
                  <a:pt x="4674" y="6522"/>
                </a:lnTo>
                <a:lnTo>
                  <a:pt x="5272" y="6196"/>
                </a:lnTo>
                <a:lnTo>
                  <a:pt x="5761" y="5761"/>
                </a:lnTo>
                <a:lnTo>
                  <a:pt x="6142" y="5272"/>
                </a:lnTo>
                <a:lnTo>
                  <a:pt x="6468" y="4729"/>
                </a:lnTo>
                <a:lnTo>
                  <a:pt x="6576" y="4403"/>
                </a:lnTo>
                <a:lnTo>
                  <a:pt x="6685" y="4076"/>
                </a:lnTo>
                <a:lnTo>
                  <a:pt x="6739" y="3750"/>
                </a:lnTo>
                <a:lnTo>
                  <a:pt x="6739" y="3370"/>
                </a:lnTo>
                <a:lnTo>
                  <a:pt x="6739" y="3044"/>
                </a:lnTo>
                <a:lnTo>
                  <a:pt x="6685" y="2718"/>
                </a:lnTo>
                <a:lnTo>
                  <a:pt x="6576" y="2392"/>
                </a:lnTo>
                <a:lnTo>
                  <a:pt x="6468" y="2066"/>
                </a:lnTo>
                <a:lnTo>
                  <a:pt x="6142" y="1522"/>
                </a:lnTo>
                <a:lnTo>
                  <a:pt x="5761" y="1033"/>
                </a:lnTo>
                <a:lnTo>
                  <a:pt x="5272" y="598"/>
                </a:lnTo>
                <a:lnTo>
                  <a:pt x="4674" y="272"/>
                </a:lnTo>
                <a:lnTo>
                  <a:pt x="4348" y="164"/>
                </a:lnTo>
                <a:lnTo>
                  <a:pt x="4077" y="109"/>
                </a:lnTo>
                <a:lnTo>
                  <a:pt x="3696" y="55"/>
                </a:lnTo>
                <a:lnTo>
                  <a:pt x="3370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82259" tIns="82259" rIns="82259" bIns="82259" anchor="ctr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BCF8C9A8-CD61-1915-A83F-01C925B93556}"/>
              </a:ext>
            </a:extLst>
          </p:cNvPr>
          <p:cNvSpPr txBox="1"/>
          <p:nvPr/>
        </p:nvSpPr>
        <p:spPr>
          <a:xfrm>
            <a:off x="2322758" y="3933964"/>
            <a:ext cx="2072456" cy="2476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8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uxaStat App Development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FC8D5DD7-3540-2DAA-6358-C4144828D627}"/>
              </a:ext>
            </a:extLst>
          </p:cNvPr>
          <p:cNvSpPr txBox="1"/>
          <p:nvPr/>
        </p:nvSpPr>
        <p:spPr>
          <a:xfrm>
            <a:off x="2322758" y="2820230"/>
            <a:ext cx="793994" cy="2208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023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ED2BA275-CD0B-49A7-A668-F8151002846A}"/>
              </a:ext>
            </a:extLst>
          </p:cNvPr>
          <p:cNvGrpSpPr/>
          <p:nvPr/>
        </p:nvGrpSpPr>
        <p:grpSpPr>
          <a:xfrm>
            <a:off x="-70430" y="648000"/>
            <a:ext cx="10110109" cy="4679717"/>
            <a:chOff x="474389" y="773725"/>
            <a:chExt cx="7936463" cy="3944075"/>
          </a:xfrm>
        </p:grpSpPr>
        <p:sp>
          <p:nvSpPr>
            <p:cNvPr id="4" name="Google Shape;316;p19">
              <a:extLst>
                <a:ext uri="{FF2B5EF4-FFF2-40B4-BE49-F238E27FC236}">
                  <a16:creationId xmlns:a16="http://schemas.microsoft.com/office/drawing/2014/main" id="{D32510CA-E5CC-43DE-9EB9-D4DCC22B7448}"/>
                </a:ext>
              </a:extLst>
            </p:cNvPr>
            <p:cNvSpPr/>
            <p:nvPr/>
          </p:nvSpPr>
          <p:spPr>
            <a:xfrm>
              <a:off x="1197353" y="1413200"/>
              <a:ext cx="5732022" cy="3124258"/>
            </a:xfrm>
            <a:custGeom>
              <a:avLst/>
              <a:gdLst/>
              <a:ahLst/>
              <a:cxnLst/>
              <a:rect l="l" t="t" r="r" b="b"/>
              <a:pathLst>
                <a:path w="96519" h="52608" extrusionOk="0">
                  <a:moveTo>
                    <a:pt x="63150" y="0"/>
                  </a:moveTo>
                  <a:lnTo>
                    <a:pt x="62607" y="55"/>
                  </a:lnTo>
                  <a:lnTo>
                    <a:pt x="62117" y="218"/>
                  </a:lnTo>
                  <a:lnTo>
                    <a:pt x="61628" y="381"/>
                  </a:lnTo>
                  <a:lnTo>
                    <a:pt x="61139" y="544"/>
                  </a:lnTo>
                  <a:lnTo>
                    <a:pt x="60704" y="816"/>
                  </a:lnTo>
                  <a:lnTo>
                    <a:pt x="60270" y="1087"/>
                  </a:lnTo>
                  <a:lnTo>
                    <a:pt x="59889" y="1413"/>
                  </a:lnTo>
                  <a:lnTo>
                    <a:pt x="59509" y="1739"/>
                  </a:lnTo>
                  <a:lnTo>
                    <a:pt x="59237" y="2120"/>
                  </a:lnTo>
                  <a:lnTo>
                    <a:pt x="58911" y="2500"/>
                  </a:lnTo>
                  <a:lnTo>
                    <a:pt x="58694" y="2935"/>
                  </a:lnTo>
                  <a:lnTo>
                    <a:pt x="58531" y="3370"/>
                  </a:lnTo>
                  <a:lnTo>
                    <a:pt x="58368" y="3859"/>
                  </a:lnTo>
                  <a:lnTo>
                    <a:pt x="58313" y="4294"/>
                  </a:lnTo>
                  <a:lnTo>
                    <a:pt x="58259" y="4783"/>
                  </a:lnTo>
                  <a:lnTo>
                    <a:pt x="58259" y="19619"/>
                  </a:lnTo>
                  <a:lnTo>
                    <a:pt x="58259" y="20000"/>
                  </a:lnTo>
                  <a:lnTo>
                    <a:pt x="58205" y="20326"/>
                  </a:lnTo>
                  <a:lnTo>
                    <a:pt x="58096" y="20652"/>
                  </a:lnTo>
                  <a:lnTo>
                    <a:pt x="57933" y="20978"/>
                  </a:lnTo>
                  <a:lnTo>
                    <a:pt x="57770" y="21304"/>
                  </a:lnTo>
                  <a:lnTo>
                    <a:pt x="57552" y="21576"/>
                  </a:lnTo>
                  <a:lnTo>
                    <a:pt x="57335" y="21847"/>
                  </a:lnTo>
                  <a:lnTo>
                    <a:pt x="57063" y="22119"/>
                  </a:lnTo>
                  <a:lnTo>
                    <a:pt x="56792" y="22336"/>
                  </a:lnTo>
                  <a:lnTo>
                    <a:pt x="56465" y="22554"/>
                  </a:lnTo>
                  <a:lnTo>
                    <a:pt x="56139" y="22717"/>
                  </a:lnTo>
                  <a:lnTo>
                    <a:pt x="55759" y="22880"/>
                  </a:lnTo>
                  <a:lnTo>
                    <a:pt x="55379" y="22989"/>
                  </a:lnTo>
                  <a:lnTo>
                    <a:pt x="54998" y="23097"/>
                  </a:lnTo>
                  <a:lnTo>
                    <a:pt x="54563" y="23152"/>
                  </a:lnTo>
                  <a:lnTo>
                    <a:pt x="48531" y="23152"/>
                  </a:lnTo>
                  <a:lnTo>
                    <a:pt x="48096" y="23097"/>
                  </a:lnTo>
                  <a:lnTo>
                    <a:pt x="47716" y="22989"/>
                  </a:lnTo>
                  <a:lnTo>
                    <a:pt x="47335" y="22880"/>
                  </a:lnTo>
                  <a:lnTo>
                    <a:pt x="46955" y="22717"/>
                  </a:lnTo>
                  <a:lnTo>
                    <a:pt x="46629" y="22554"/>
                  </a:lnTo>
                  <a:lnTo>
                    <a:pt x="46303" y="22336"/>
                  </a:lnTo>
                  <a:lnTo>
                    <a:pt x="46031" y="22119"/>
                  </a:lnTo>
                  <a:lnTo>
                    <a:pt x="45759" y="21847"/>
                  </a:lnTo>
                  <a:lnTo>
                    <a:pt x="45488" y="21576"/>
                  </a:lnTo>
                  <a:lnTo>
                    <a:pt x="45325" y="21304"/>
                  </a:lnTo>
                  <a:lnTo>
                    <a:pt x="45107" y="20978"/>
                  </a:lnTo>
                  <a:lnTo>
                    <a:pt x="44998" y="20652"/>
                  </a:lnTo>
                  <a:lnTo>
                    <a:pt x="44890" y="20326"/>
                  </a:lnTo>
                  <a:lnTo>
                    <a:pt x="44835" y="20000"/>
                  </a:lnTo>
                  <a:lnTo>
                    <a:pt x="44781" y="19619"/>
                  </a:lnTo>
                  <a:lnTo>
                    <a:pt x="44781" y="16576"/>
                  </a:lnTo>
                  <a:lnTo>
                    <a:pt x="44781" y="16087"/>
                  </a:lnTo>
                  <a:lnTo>
                    <a:pt x="44672" y="15598"/>
                  </a:lnTo>
                  <a:lnTo>
                    <a:pt x="44564" y="15163"/>
                  </a:lnTo>
                  <a:lnTo>
                    <a:pt x="44401" y="14728"/>
                  </a:lnTo>
                  <a:lnTo>
                    <a:pt x="44129" y="14293"/>
                  </a:lnTo>
                  <a:lnTo>
                    <a:pt x="43857" y="13913"/>
                  </a:lnTo>
                  <a:lnTo>
                    <a:pt x="43585" y="13532"/>
                  </a:lnTo>
                  <a:lnTo>
                    <a:pt x="43205" y="13152"/>
                  </a:lnTo>
                  <a:lnTo>
                    <a:pt x="42825" y="12880"/>
                  </a:lnTo>
                  <a:lnTo>
                    <a:pt x="42390" y="12609"/>
                  </a:lnTo>
                  <a:lnTo>
                    <a:pt x="41955" y="12337"/>
                  </a:lnTo>
                  <a:lnTo>
                    <a:pt x="41466" y="12119"/>
                  </a:lnTo>
                  <a:lnTo>
                    <a:pt x="40977" y="11956"/>
                  </a:lnTo>
                  <a:lnTo>
                    <a:pt x="40488" y="11848"/>
                  </a:lnTo>
                  <a:lnTo>
                    <a:pt x="39944" y="11793"/>
                  </a:lnTo>
                  <a:lnTo>
                    <a:pt x="39347" y="11739"/>
                  </a:lnTo>
                  <a:lnTo>
                    <a:pt x="34564" y="11739"/>
                  </a:lnTo>
                  <a:lnTo>
                    <a:pt x="34021" y="11793"/>
                  </a:lnTo>
                  <a:lnTo>
                    <a:pt x="33477" y="11848"/>
                  </a:lnTo>
                  <a:lnTo>
                    <a:pt x="32988" y="11956"/>
                  </a:lnTo>
                  <a:lnTo>
                    <a:pt x="32499" y="12119"/>
                  </a:lnTo>
                  <a:lnTo>
                    <a:pt x="32010" y="12337"/>
                  </a:lnTo>
                  <a:lnTo>
                    <a:pt x="31575" y="12609"/>
                  </a:lnTo>
                  <a:lnTo>
                    <a:pt x="31140" y="12880"/>
                  </a:lnTo>
                  <a:lnTo>
                    <a:pt x="30760" y="13152"/>
                  </a:lnTo>
                  <a:lnTo>
                    <a:pt x="30379" y="13532"/>
                  </a:lnTo>
                  <a:lnTo>
                    <a:pt x="30108" y="13913"/>
                  </a:lnTo>
                  <a:lnTo>
                    <a:pt x="29782" y="14293"/>
                  </a:lnTo>
                  <a:lnTo>
                    <a:pt x="29564" y="14728"/>
                  </a:lnTo>
                  <a:lnTo>
                    <a:pt x="29401" y="15163"/>
                  </a:lnTo>
                  <a:lnTo>
                    <a:pt x="29238" y="15598"/>
                  </a:lnTo>
                  <a:lnTo>
                    <a:pt x="29184" y="16087"/>
                  </a:lnTo>
                  <a:lnTo>
                    <a:pt x="29130" y="16576"/>
                  </a:lnTo>
                  <a:lnTo>
                    <a:pt x="29130" y="47770"/>
                  </a:lnTo>
                  <a:lnTo>
                    <a:pt x="29130" y="48096"/>
                  </a:lnTo>
                  <a:lnTo>
                    <a:pt x="29075" y="48477"/>
                  </a:lnTo>
                  <a:lnTo>
                    <a:pt x="28966" y="48803"/>
                  </a:lnTo>
                  <a:lnTo>
                    <a:pt x="28803" y="49129"/>
                  </a:lnTo>
                  <a:lnTo>
                    <a:pt x="28640" y="49455"/>
                  </a:lnTo>
                  <a:lnTo>
                    <a:pt x="28423" y="49727"/>
                  </a:lnTo>
                  <a:lnTo>
                    <a:pt x="28206" y="49998"/>
                  </a:lnTo>
                  <a:lnTo>
                    <a:pt x="27934" y="50270"/>
                  </a:lnTo>
                  <a:lnTo>
                    <a:pt x="27662" y="50488"/>
                  </a:lnTo>
                  <a:lnTo>
                    <a:pt x="27336" y="50651"/>
                  </a:lnTo>
                  <a:lnTo>
                    <a:pt x="27010" y="50868"/>
                  </a:lnTo>
                  <a:lnTo>
                    <a:pt x="26630" y="50977"/>
                  </a:lnTo>
                  <a:lnTo>
                    <a:pt x="26249" y="51140"/>
                  </a:lnTo>
                  <a:lnTo>
                    <a:pt x="25869" y="51194"/>
                  </a:lnTo>
                  <a:lnTo>
                    <a:pt x="25434" y="51248"/>
                  </a:lnTo>
                  <a:lnTo>
                    <a:pt x="24999" y="51303"/>
                  </a:lnTo>
                  <a:lnTo>
                    <a:pt x="22825" y="51303"/>
                  </a:lnTo>
                  <a:lnTo>
                    <a:pt x="22445" y="51248"/>
                  </a:lnTo>
                  <a:lnTo>
                    <a:pt x="22010" y="51194"/>
                  </a:lnTo>
                  <a:lnTo>
                    <a:pt x="21630" y="51140"/>
                  </a:lnTo>
                  <a:lnTo>
                    <a:pt x="21249" y="50977"/>
                  </a:lnTo>
                  <a:lnTo>
                    <a:pt x="20869" y="50868"/>
                  </a:lnTo>
                  <a:lnTo>
                    <a:pt x="20543" y="50651"/>
                  </a:lnTo>
                  <a:lnTo>
                    <a:pt x="20217" y="50488"/>
                  </a:lnTo>
                  <a:lnTo>
                    <a:pt x="19945" y="50270"/>
                  </a:lnTo>
                  <a:lnTo>
                    <a:pt x="19673" y="49998"/>
                  </a:lnTo>
                  <a:lnTo>
                    <a:pt x="19402" y="49727"/>
                  </a:lnTo>
                  <a:lnTo>
                    <a:pt x="19239" y="49455"/>
                  </a:lnTo>
                  <a:lnTo>
                    <a:pt x="19021" y="49129"/>
                  </a:lnTo>
                  <a:lnTo>
                    <a:pt x="18913" y="48803"/>
                  </a:lnTo>
                  <a:lnTo>
                    <a:pt x="18804" y="48477"/>
                  </a:lnTo>
                  <a:lnTo>
                    <a:pt x="18749" y="48096"/>
                  </a:lnTo>
                  <a:lnTo>
                    <a:pt x="18695" y="47770"/>
                  </a:lnTo>
                  <a:lnTo>
                    <a:pt x="18695" y="33858"/>
                  </a:lnTo>
                  <a:lnTo>
                    <a:pt x="18695" y="33369"/>
                  </a:lnTo>
                  <a:lnTo>
                    <a:pt x="18586" y="32934"/>
                  </a:lnTo>
                  <a:lnTo>
                    <a:pt x="18478" y="32445"/>
                  </a:lnTo>
                  <a:lnTo>
                    <a:pt x="18315" y="32010"/>
                  </a:lnTo>
                  <a:lnTo>
                    <a:pt x="18043" y="31575"/>
                  </a:lnTo>
                  <a:lnTo>
                    <a:pt x="17771" y="31195"/>
                  </a:lnTo>
                  <a:lnTo>
                    <a:pt x="17500" y="30814"/>
                  </a:lnTo>
                  <a:lnTo>
                    <a:pt x="17119" y="30488"/>
                  </a:lnTo>
                  <a:lnTo>
                    <a:pt x="16739" y="30162"/>
                  </a:lnTo>
                  <a:lnTo>
                    <a:pt x="16304" y="29891"/>
                  </a:lnTo>
                  <a:lnTo>
                    <a:pt x="15869" y="29619"/>
                  </a:lnTo>
                  <a:lnTo>
                    <a:pt x="15380" y="29456"/>
                  </a:lnTo>
                  <a:lnTo>
                    <a:pt x="14891" y="29293"/>
                  </a:lnTo>
                  <a:lnTo>
                    <a:pt x="14402" y="29130"/>
                  </a:lnTo>
                  <a:lnTo>
                    <a:pt x="13858" y="29075"/>
                  </a:lnTo>
                  <a:lnTo>
                    <a:pt x="0" y="29075"/>
                  </a:lnTo>
                  <a:lnTo>
                    <a:pt x="0" y="30380"/>
                  </a:lnTo>
                  <a:lnTo>
                    <a:pt x="13695" y="30380"/>
                  </a:lnTo>
                  <a:lnTo>
                    <a:pt x="14130" y="30434"/>
                  </a:lnTo>
                  <a:lnTo>
                    <a:pt x="14511" y="30488"/>
                  </a:lnTo>
                  <a:lnTo>
                    <a:pt x="14891" y="30651"/>
                  </a:lnTo>
                  <a:lnTo>
                    <a:pt x="15271" y="30760"/>
                  </a:lnTo>
                  <a:lnTo>
                    <a:pt x="15597" y="30977"/>
                  </a:lnTo>
                  <a:lnTo>
                    <a:pt x="15923" y="31140"/>
                  </a:lnTo>
                  <a:lnTo>
                    <a:pt x="16195" y="31412"/>
                  </a:lnTo>
                  <a:lnTo>
                    <a:pt x="16467" y="31630"/>
                  </a:lnTo>
                  <a:lnTo>
                    <a:pt x="16684" y="31901"/>
                  </a:lnTo>
                  <a:lnTo>
                    <a:pt x="16902" y="32227"/>
                  </a:lnTo>
                  <a:lnTo>
                    <a:pt x="17065" y="32499"/>
                  </a:lnTo>
                  <a:lnTo>
                    <a:pt x="17228" y="32825"/>
                  </a:lnTo>
                  <a:lnTo>
                    <a:pt x="17336" y="33151"/>
                  </a:lnTo>
                  <a:lnTo>
                    <a:pt x="17391" y="33532"/>
                  </a:lnTo>
                  <a:lnTo>
                    <a:pt x="17391" y="33858"/>
                  </a:lnTo>
                  <a:lnTo>
                    <a:pt x="17391" y="47770"/>
                  </a:lnTo>
                  <a:lnTo>
                    <a:pt x="17445" y="48259"/>
                  </a:lnTo>
                  <a:lnTo>
                    <a:pt x="17500" y="48748"/>
                  </a:lnTo>
                  <a:lnTo>
                    <a:pt x="17663" y="49183"/>
                  </a:lnTo>
                  <a:lnTo>
                    <a:pt x="17826" y="49618"/>
                  </a:lnTo>
                  <a:lnTo>
                    <a:pt x="18043" y="50053"/>
                  </a:lnTo>
                  <a:lnTo>
                    <a:pt x="18369" y="50433"/>
                  </a:lnTo>
                  <a:lnTo>
                    <a:pt x="18641" y="50814"/>
                  </a:lnTo>
                  <a:lnTo>
                    <a:pt x="19021" y="51194"/>
                  </a:lnTo>
                  <a:lnTo>
                    <a:pt x="19402" y="51466"/>
                  </a:lnTo>
                  <a:lnTo>
                    <a:pt x="19836" y="51738"/>
                  </a:lnTo>
                  <a:lnTo>
                    <a:pt x="20271" y="52009"/>
                  </a:lnTo>
                  <a:lnTo>
                    <a:pt x="20760" y="52227"/>
                  </a:lnTo>
                  <a:lnTo>
                    <a:pt x="21249" y="52390"/>
                  </a:lnTo>
                  <a:lnTo>
                    <a:pt x="21738" y="52498"/>
                  </a:lnTo>
                  <a:lnTo>
                    <a:pt x="22282" y="52553"/>
                  </a:lnTo>
                  <a:lnTo>
                    <a:pt x="22825" y="52607"/>
                  </a:lnTo>
                  <a:lnTo>
                    <a:pt x="24999" y="52607"/>
                  </a:lnTo>
                  <a:lnTo>
                    <a:pt x="25597" y="52553"/>
                  </a:lnTo>
                  <a:lnTo>
                    <a:pt x="26141" y="52498"/>
                  </a:lnTo>
                  <a:lnTo>
                    <a:pt x="26630" y="52390"/>
                  </a:lnTo>
                  <a:lnTo>
                    <a:pt x="27119" y="52227"/>
                  </a:lnTo>
                  <a:lnTo>
                    <a:pt x="27608" y="52009"/>
                  </a:lnTo>
                  <a:lnTo>
                    <a:pt x="28043" y="51738"/>
                  </a:lnTo>
                  <a:lnTo>
                    <a:pt x="28477" y="51466"/>
                  </a:lnTo>
                  <a:lnTo>
                    <a:pt x="28858" y="51194"/>
                  </a:lnTo>
                  <a:lnTo>
                    <a:pt x="29238" y="50814"/>
                  </a:lnTo>
                  <a:lnTo>
                    <a:pt x="29510" y="50433"/>
                  </a:lnTo>
                  <a:lnTo>
                    <a:pt x="29782" y="50053"/>
                  </a:lnTo>
                  <a:lnTo>
                    <a:pt x="30053" y="49618"/>
                  </a:lnTo>
                  <a:lnTo>
                    <a:pt x="30216" y="49183"/>
                  </a:lnTo>
                  <a:lnTo>
                    <a:pt x="30325" y="48748"/>
                  </a:lnTo>
                  <a:lnTo>
                    <a:pt x="30434" y="48259"/>
                  </a:lnTo>
                  <a:lnTo>
                    <a:pt x="30434" y="47770"/>
                  </a:lnTo>
                  <a:lnTo>
                    <a:pt x="30434" y="16576"/>
                  </a:lnTo>
                  <a:lnTo>
                    <a:pt x="30488" y="16250"/>
                  </a:lnTo>
                  <a:lnTo>
                    <a:pt x="30543" y="15869"/>
                  </a:lnTo>
                  <a:lnTo>
                    <a:pt x="30651" y="15543"/>
                  </a:lnTo>
                  <a:lnTo>
                    <a:pt x="30760" y="15217"/>
                  </a:lnTo>
                  <a:lnTo>
                    <a:pt x="30977" y="14891"/>
                  </a:lnTo>
                  <a:lnTo>
                    <a:pt x="31140" y="14619"/>
                  </a:lnTo>
                  <a:lnTo>
                    <a:pt x="31412" y="14348"/>
                  </a:lnTo>
                  <a:lnTo>
                    <a:pt x="31684" y="14076"/>
                  </a:lnTo>
                  <a:lnTo>
                    <a:pt x="31955" y="13859"/>
                  </a:lnTo>
                  <a:lnTo>
                    <a:pt x="32282" y="13641"/>
                  </a:lnTo>
                  <a:lnTo>
                    <a:pt x="32608" y="13478"/>
                  </a:lnTo>
                  <a:lnTo>
                    <a:pt x="32988" y="13315"/>
                  </a:lnTo>
                  <a:lnTo>
                    <a:pt x="33368" y="13206"/>
                  </a:lnTo>
                  <a:lnTo>
                    <a:pt x="33749" y="13152"/>
                  </a:lnTo>
                  <a:lnTo>
                    <a:pt x="34184" y="13098"/>
                  </a:lnTo>
                  <a:lnTo>
                    <a:pt x="34564" y="13043"/>
                  </a:lnTo>
                  <a:lnTo>
                    <a:pt x="39347" y="13043"/>
                  </a:lnTo>
                  <a:lnTo>
                    <a:pt x="39781" y="13098"/>
                  </a:lnTo>
                  <a:lnTo>
                    <a:pt x="40216" y="13152"/>
                  </a:lnTo>
                  <a:lnTo>
                    <a:pt x="40596" y="13206"/>
                  </a:lnTo>
                  <a:lnTo>
                    <a:pt x="40977" y="13315"/>
                  </a:lnTo>
                  <a:lnTo>
                    <a:pt x="41357" y="13478"/>
                  </a:lnTo>
                  <a:lnTo>
                    <a:pt x="41683" y="13641"/>
                  </a:lnTo>
                  <a:lnTo>
                    <a:pt x="42009" y="13859"/>
                  </a:lnTo>
                  <a:lnTo>
                    <a:pt x="42281" y="14076"/>
                  </a:lnTo>
                  <a:lnTo>
                    <a:pt x="42553" y="14348"/>
                  </a:lnTo>
                  <a:lnTo>
                    <a:pt x="42770" y="14619"/>
                  </a:lnTo>
                  <a:lnTo>
                    <a:pt x="42988" y="14891"/>
                  </a:lnTo>
                  <a:lnTo>
                    <a:pt x="43151" y="15217"/>
                  </a:lnTo>
                  <a:lnTo>
                    <a:pt x="43314" y="15543"/>
                  </a:lnTo>
                  <a:lnTo>
                    <a:pt x="43422" y="15869"/>
                  </a:lnTo>
                  <a:lnTo>
                    <a:pt x="43477" y="16250"/>
                  </a:lnTo>
                  <a:lnTo>
                    <a:pt x="43477" y="16576"/>
                  </a:lnTo>
                  <a:lnTo>
                    <a:pt x="43477" y="19619"/>
                  </a:lnTo>
                  <a:lnTo>
                    <a:pt x="43531" y="20108"/>
                  </a:lnTo>
                  <a:lnTo>
                    <a:pt x="43585" y="20597"/>
                  </a:lnTo>
                  <a:lnTo>
                    <a:pt x="43749" y="21087"/>
                  </a:lnTo>
                  <a:lnTo>
                    <a:pt x="43912" y="21521"/>
                  </a:lnTo>
                  <a:lnTo>
                    <a:pt x="44129" y="21956"/>
                  </a:lnTo>
                  <a:lnTo>
                    <a:pt x="44455" y="22336"/>
                  </a:lnTo>
                  <a:lnTo>
                    <a:pt x="44727" y="22717"/>
                  </a:lnTo>
                  <a:lnTo>
                    <a:pt x="45107" y="23043"/>
                  </a:lnTo>
                  <a:lnTo>
                    <a:pt x="45488" y="23369"/>
                  </a:lnTo>
                  <a:lnTo>
                    <a:pt x="45922" y="23641"/>
                  </a:lnTo>
                  <a:lnTo>
                    <a:pt x="46357" y="23858"/>
                  </a:lnTo>
                  <a:lnTo>
                    <a:pt x="46846" y="24076"/>
                  </a:lnTo>
                  <a:lnTo>
                    <a:pt x="47335" y="24239"/>
                  </a:lnTo>
                  <a:lnTo>
                    <a:pt x="47824" y="24347"/>
                  </a:lnTo>
                  <a:lnTo>
                    <a:pt x="48368" y="24456"/>
                  </a:lnTo>
                  <a:lnTo>
                    <a:pt x="54726" y="24456"/>
                  </a:lnTo>
                  <a:lnTo>
                    <a:pt x="55270" y="24347"/>
                  </a:lnTo>
                  <a:lnTo>
                    <a:pt x="55759" y="24239"/>
                  </a:lnTo>
                  <a:lnTo>
                    <a:pt x="56248" y="24076"/>
                  </a:lnTo>
                  <a:lnTo>
                    <a:pt x="56737" y="23858"/>
                  </a:lnTo>
                  <a:lnTo>
                    <a:pt x="57172" y="23641"/>
                  </a:lnTo>
                  <a:lnTo>
                    <a:pt x="57607" y="23369"/>
                  </a:lnTo>
                  <a:lnTo>
                    <a:pt x="57987" y="23043"/>
                  </a:lnTo>
                  <a:lnTo>
                    <a:pt x="58368" y="22717"/>
                  </a:lnTo>
                  <a:lnTo>
                    <a:pt x="58639" y="22336"/>
                  </a:lnTo>
                  <a:lnTo>
                    <a:pt x="58911" y="21956"/>
                  </a:lnTo>
                  <a:lnTo>
                    <a:pt x="59183" y="21521"/>
                  </a:lnTo>
                  <a:lnTo>
                    <a:pt x="59346" y="21087"/>
                  </a:lnTo>
                  <a:lnTo>
                    <a:pt x="59454" y="20597"/>
                  </a:lnTo>
                  <a:lnTo>
                    <a:pt x="59563" y="20108"/>
                  </a:lnTo>
                  <a:lnTo>
                    <a:pt x="59563" y="19619"/>
                  </a:lnTo>
                  <a:lnTo>
                    <a:pt x="59563" y="4783"/>
                  </a:lnTo>
                  <a:lnTo>
                    <a:pt x="59617" y="4457"/>
                  </a:lnTo>
                  <a:lnTo>
                    <a:pt x="59672" y="4076"/>
                  </a:lnTo>
                  <a:lnTo>
                    <a:pt x="59781" y="3750"/>
                  </a:lnTo>
                  <a:lnTo>
                    <a:pt x="59889" y="3424"/>
                  </a:lnTo>
                  <a:lnTo>
                    <a:pt x="60107" y="3152"/>
                  </a:lnTo>
                  <a:lnTo>
                    <a:pt x="60270" y="2826"/>
                  </a:lnTo>
                  <a:lnTo>
                    <a:pt x="60541" y="2555"/>
                  </a:lnTo>
                  <a:lnTo>
                    <a:pt x="60813" y="2337"/>
                  </a:lnTo>
                  <a:lnTo>
                    <a:pt x="61085" y="2066"/>
                  </a:lnTo>
                  <a:lnTo>
                    <a:pt x="61411" y="1902"/>
                  </a:lnTo>
                  <a:lnTo>
                    <a:pt x="61737" y="1685"/>
                  </a:lnTo>
                  <a:lnTo>
                    <a:pt x="62117" y="1576"/>
                  </a:lnTo>
                  <a:lnTo>
                    <a:pt x="62498" y="1413"/>
                  </a:lnTo>
                  <a:lnTo>
                    <a:pt x="62878" y="1359"/>
                  </a:lnTo>
                  <a:lnTo>
                    <a:pt x="63313" y="1305"/>
                  </a:lnTo>
                  <a:lnTo>
                    <a:pt x="65432" y="1305"/>
                  </a:lnTo>
                  <a:lnTo>
                    <a:pt x="65867" y="1359"/>
                  </a:lnTo>
                  <a:lnTo>
                    <a:pt x="66248" y="1413"/>
                  </a:lnTo>
                  <a:lnTo>
                    <a:pt x="66628" y="1576"/>
                  </a:lnTo>
                  <a:lnTo>
                    <a:pt x="67009" y="1685"/>
                  </a:lnTo>
                  <a:lnTo>
                    <a:pt x="67335" y="1902"/>
                  </a:lnTo>
                  <a:lnTo>
                    <a:pt x="67661" y="2066"/>
                  </a:lnTo>
                  <a:lnTo>
                    <a:pt x="67932" y="2337"/>
                  </a:lnTo>
                  <a:lnTo>
                    <a:pt x="68204" y="2555"/>
                  </a:lnTo>
                  <a:lnTo>
                    <a:pt x="68422" y="2826"/>
                  </a:lnTo>
                  <a:lnTo>
                    <a:pt x="68639" y="3152"/>
                  </a:lnTo>
                  <a:lnTo>
                    <a:pt x="68802" y="3424"/>
                  </a:lnTo>
                  <a:lnTo>
                    <a:pt x="68965" y="3750"/>
                  </a:lnTo>
                  <a:lnTo>
                    <a:pt x="69074" y="4076"/>
                  </a:lnTo>
                  <a:lnTo>
                    <a:pt x="69128" y="4457"/>
                  </a:lnTo>
                  <a:lnTo>
                    <a:pt x="69128" y="4783"/>
                  </a:lnTo>
                  <a:lnTo>
                    <a:pt x="69128" y="41684"/>
                  </a:lnTo>
                  <a:lnTo>
                    <a:pt x="69182" y="42173"/>
                  </a:lnTo>
                  <a:lnTo>
                    <a:pt x="69237" y="42662"/>
                  </a:lnTo>
                  <a:lnTo>
                    <a:pt x="69400" y="43097"/>
                  </a:lnTo>
                  <a:lnTo>
                    <a:pt x="69563" y="43531"/>
                  </a:lnTo>
                  <a:lnTo>
                    <a:pt x="69780" y="43966"/>
                  </a:lnTo>
                  <a:lnTo>
                    <a:pt x="70106" y="44346"/>
                  </a:lnTo>
                  <a:lnTo>
                    <a:pt x="70378" y="44727"/>
                  </a:lnTo>
                  <a:lnTo>
                    <a:pt x="70758" y="45107"/>
                  </a:lnTo>
                  <a:lnTo>
                    <a:pt x="71139" y="45379"/>
                  </a:lnTo>
                  <a:lnTo>
                    <a:pt x="71574" y="45651"/>
                  </a:lnTo>
                  <a:lnTo>
                    <a:pt x="72008" y="45923"/>
                  </a:lnTo>
                  <a:lnTo>
                    <a:pt x="72497" y="46140"/>
                  </a:lnTo>
                  <a:lnTo>
                    <a:pt x="72987" y="46303"/>
                  </a:lnTo>
                  <a:lnTo>
                    <a:pt x="73476" y="46412"/>
                  </a:lnTo>
                  <a:lnTo>
                    <a:pt x="74019" y="46466"/>
                  </a:lnTo>
                  <a:lnTo>
                    <a:pt x="74563" y="46520"/>
                  </a:lnTo>
                  <a:lnTo>
                    <a:pt x="75160" y="46466"/>
                  </a:lnTo>
                  <a:lnTo>
                    <a:pt x="75704" y="46412"/>
                  </a:lnTo>
                  <a:lnTo>
                    <a:pt x="76193" y="46303"/>
                  </a:lnTo>
                  <a:lnTo>
                    <a:pt x="76682" y="46140"/>
                  </a:lnTo>
                  <a:lnTo>
                    <a:pt x="77171" y="45923"/>
                  </a:lnTo>
                  <a:lnTo>
                    <a:pt x="77606" y="45651"/>
                  </a:lnTo>
                  <a:lnTo>
                    <a:pt x="78041" y="45379"/>
                  </a:lnTo>
                  <a:lnTo>
                    <a:pt x="78421" y="45107"/>
                  </a:lnTo>
                  <a:lnTo>
                    <a:pt x="78802" y="44727"/>
                  </a:lnTo>
                  <a:lnTo>
                    <a:pt x="79073" y="44346"/>
                  </a:lnTo>
                  <a:lnTo>
                    <a:pt x="79345" y="43966"/>
                  </a:lnTo>
                  <a:lnTo>
                    <a:pt x="79617" y="43531"/>
                  </a:lnTo>
                  <a:lnTo>
                    <a:pt x="79780" y="43097"/>
                  </a:lnTo>
                  <a:lnTo>
                    <a:pt x="79888" y="42662"/>
                  </a:lnTo>
                  <a:lnTo>
                    <a:pt x="79997" y="42173"/>
                  </a:lnTo>
                  <a:lnTo>
                    <a:pt x="79997" y="41684"/>
                  </a:lnTo>
                  <a:lnTo>
                    <a:pt x="79997" y="29510"/>
                  </a:lnTo>
                  <a:lnTo>
                    <a:pt x="80051" y="29130"/>
                  </a:lnTo>
                  <a:lnTo>
                    <a:pt x="80106" y="28804"/>
                  </a:lnTo>
                  <a:lnTo>
                    <a:pt x="80215" y="28478"/>
                  </a:lnTo>
                  <a:lnTo>
                    <a:pt x="80323" y="28151"/>
                  </a:lnTo>
                  <a:lnTo>
                    <a:pt x="80541" y="27825"/>
                  </a:lnTo>
                  <a:lnTo>
                    <a:pt x="80704" y="27554"/>
                  </a:lnTo>
                  <a:lnTo>
                    <a:pt x="80975" y="27282"/>
                  </a:lnTo>
                  <a:lnTo>
                    <a:pt x="81247" y="27010"/>
                  </a:lnTo>
                  <a:lnTo>
                    <a:pt x="81519" y="26793"/>
                  </a:lnTo>
                  <a:lnTo>
                    <a:pt x="81845" y="26575"/>
                  </a:lnTo>
                  <a:lnTo>
                    <a:pt x="82171" y="26412"/>
                  </a:lnTo>
                  <a:lnTo>
                    <a:pt x="82551" y="26249"/>
                  </a:lnTo>
                  <a:lnTo>
                    <a:pt x="82932" y="26141"/>
                  </a:lnTo>
                  <a:lnTo>
                    <a:pt x="83312" y="26032"/>
                  </a:lnTo>
                  <a:lnTo>
                    <a:pt x="83747" y="25978"/>
                  </a:lnTo>
                  <a:lnTo>
                    <a:pt x="91681" y="25978"/>
                  </a:lnTo>
                  <a:lnTo>
                    <a:pt x="92225" y="25869"/>
                  </a:lnTo>
                  <a:lnTo>
                    <a:pt x="92714" y="25760"/>
                  </a:lnTo>
                  <a:lnTo>
                    <a:pt x="93203" y="25597"/>
                  </a:lnTo>
                  <a:lnTo>
                    <a:pt x="93692" y="25380"/>
                  </a:lnTo>
                  <a:lnTo>
                    <a:pt x="94127" y="25162"/>
                  </a:lnTo>
                  <a:lnTo>
                    <a:pt x="94562" y="24891"/>
                  </a:lnTo>
                  <a:lnTo>
                    <a:pt x="94942" y="24565"/>
                  </a:lnTo>
                  <a:lnTo>
                    <a:pt x="95323" y="24239"/>
                  </a:lnTo>
                  <a:lnTo>
                    <a:pt x="95594" y="23858"/>
                  </a:lnTo>
                  <a:lnTo>
                    <a:pt x="95866" y="23478"/>
                  </a:lnTo>
                  <a:lnTo>
                    <a:pt x="96138" y="23043"/>
                  </a:lnTo>
                  <a:lnTo>
                    <a:pt x="96301" y="22608"/>
                  </a:lnTo>
                  <a:lnTo>
                    <a:pt x="96410" y="22119"/>
                  </a:lnTo>
                  <a:lnTo>
                    <a:pt x="96518" y="21630"/>
                  </a:lnTo>
                  <a:lnTo>
                    <a:pt x="96518" y="21141"/>
                  </a:lnTo>
                  <a:lnTo>
                    <a:pt x="96518" y="16956"/>
                  </a:lnTo>
                  <a:lnTo>
                    <a:pt x="95214" y="16956"/>
                  </a:lnTo>
                  <a:lnTo>
                    <a:pt x="95214" y="21141"/>
                  </a:lnTo>
                  <a:lnTo>
                    <a:pt x="95214" y="21521"/>
                  </a:lnTo>
                  <a:lnTo>
                    <a:pt x="95160" y="21847"/>
                  </a:lnTo>
                  <a:lnTo>
                    <a:pt x="95051" y="22173"/>
                  </a:lnTo>
                  <a:lnTo>
                    <a:pt x="94888" y="22500"/>
                  </a:lnTo>
                  <a:lnTo>
                    <a:pt x="94725" y="22826"/>
                  </a:lnTo>
                  <a:lnTo>
                    <a:pt x="94507" y="23097"/>
                  </a:lnTo>
                  <a:lnTo>
                    <a:pt x="94290" y="23369"/>
                  </a:lnTo>
                  <a:lnTo>
                    <a:pt x="94018" y="23641"/>
                  </a:lnTo>
                  <a:lnTo>
                    <a:pt x="93747" y="23858"/>
                  </a:lnTo>
                  <a:lnTo>
                    <a:pt x="93421" y="24076"/>
                  </a:lnTo>
                  <a:lnTo>
                    <a:pt x="93094" y="24239"/>
                  </a:lnTo>
                  <a:lnTo>
                    <a:pt x="92714" y="24402"/>
                  </a:lnTo>
                  <a:lnTo>
                    <a:pt x="92334" y="24510"/>
                  </a:lnTo>
                  <a:lnTo>
                    <a:pt x="91953" y="24619"/>
                  </a:lnTo>
                  <a:lnTo>
                    <a:pt x="91518" y="24673"/>
                  </a:lnTo>
                  <a:lnTo>
                    <a:pt x="84127" y="24673"/>
                  </a:lnTo>
                  <a:lnTo>
                    <a:pt x="83584" y="24728"/>
                  </a:lnTo>
                  <a:lnTo>
                    <a:pt x="83041" y="24782"/>
                  </a:lnTo>
                  <a:lnTo>
                    <a:pt x="82551" y="24891"/>
                  </a:lnTo>
                  <a:lnTo>
                    <a:pt x="82062" y="25054"/>
                  </a:lnTo>
                  <a:lnTo>
                    <a:pt x="81573" y="25271"/>
                  </a:lnTo>
                  <a:lnTo>
                    <a:pt x="81138" y="25489"/>
                  </a:lnTo>
                  <a:lnTo>
                    <a:pt x="80704" y="25760"/>
                  </a:lnTo>
                  <a:lnTo>
                    <a:pt x="80323" y="26086"/>
                  </a:lnTo>
                  <a:lnTo>
                    <a:pt x="79943" y="26412"/>
                  </a:lnTo>
                  <a:lnTo>
                    <a:pt x="79671" y="26793"/>
                  </a:lnTo>
                  <a:lnTo>
                    <a:pt x="79345" y="27228"/>
                  </a:lnTo>
                  <a:lnTo>
                    <a:pt x="79128" y="27608"/>
                  </a:lnTo>
                  <a:lnTo>
                    <a:pt x="78965" y="28097"/>
                  </a:lnTo>
                  <a:lnTo>
                    <a:pt x="78802" y="28532"/>
                  </a:lnTo>
                  <a:lnTo>
                    <a:pt x="78747" y="29021"/>
                  </a:lnTo>
                  <a:lnTo>
                    <a:pt x="78693" y="29510"/>
                  </a:lnTo>
                  <a:lnTo>
                    <a:pt x="78693" y="41684"/>
                  </a:lnTo>
                  <a:lnTo>
                    <a:pt x="78693" y="42010"/>
                  </a:lnTo>
                  <a:lnTo>
                    <a:pt x="78639" y="42390"/>
                  </a:lnTo>
                  <a:lnTo>
                    <a:pt x="78530" y="42716"/>
                  </a:lnTo>
                  <a:lnTo>
                    <a:pt x="78367" y="43042"/>
                  </a:lnTo>
                  <a:lnTo>
                    <a:pt x="78204" y="43368"/>
                  </a:lnTo>
                  <a:lnTo>
                    <a:pt x="77986" y="43640"/>
                  </a:lnTo>
                  <a:lnTo>
                    <a:pt x="77769" y="43912"/>
                  </a:lnTo>
                  <a:lnTo>
                    <a:pt x="77497" y="44183"/>
                  </a:lnTo>
                  <a:lnTo>
                    <a:pt x="77226" y="44401"/>
                  </a:lnTo>
                  <a:lnTo>
                    <a:pt x="76899" y="44618"/>
                  </a:lnTo>
                  <a:lnTo>
                    <a:pt x="76573" y="44781"/>
                  </a:lnTo>
                  <a:lnTo>
                    <a:pt x="76193" y="44944"/>
                  </a:lnTo>
                  <a:lnTo>
                    <a:pt x="75813" y="45053"/>
                  </a:lnTo>
                  <a:lnTo>
                    <a:pt x="75432" y="45107"/>
                  </a:lnTo>
                  <a:lnTo>
                    <a:pt x="74997" y="45162"/>
                  </a:lnTo>
                  <a:lnTo>
                    <a:pt x="74563" y="45216"/>
                  </a:lnTo>
                  <a:lnTo>
                    <a:pt x="74182" y="45162"/>
                  </a:lnTo>
                  <a:lnTo>
                    <a:pt x="73747" y="45107"/>
                  </a:lnTo>
                  <a:lnTo>
                    <a:pt x="73367" y="45053"/>
                  </a:lnTo>
                  <a:lnTo>
                    <a:pt x="72987" y="44944"/>
                  </a:lnTo>
                  <a:lnTo>
                    <a:pt x="72606" y="44781"/>
                  </a:lnTo>
                  <a:lnTo>
                    <a:pt x="72280" y="44618"/>
                  </a:lnTo>
                  <a:lnTo>
                    <a:pt x="71954" y="44401"/>
                  </a:lnTo>
                  <a:lnTo>
                    <a:pt x="71682" y="44183"/>
                  </a:lnTo>
                  <a:lnTo>
                    <a:pt x="71411" y="43912"/>
                  </a:lnTo>
                  <a:lnTo>
                    <a:pt x="71139" y="43640"/>
                  </a:lnTo>
                  <a:lnTo>
                    <a:pt x="70976" y="43368"/>
                  </a:lnTo>
                  <a:lnTo>
                    <a:pt x="70758" y="43042"/>
                  </a:lnTo>
                  <a:lnTo>
                    <a:pt x="70650" y="42716"/>
                  </a:lnTo>
                  <a:lnTo>
                    <a:pt x="70541" y="42390"/>
                  </a:lnTo>
                  <a:lnTo>
                    <a:pt x="70487" y="42010"/>
                  </a:lnTo>
                  <a:lnTo>
                    <a:pt x="70432" y="41684"/>
                  </a:lnTo>
                  <a:lnTo>
                    <a:pt x="70432" y="4783"/>
                  </a:lnTo>
                  <a:lnTo>
                    <a:pt x="70432" y="4294"/>
                  </a:lnTo>
                  <a:lnTo>
                    <a:pt x="70324" y="3859"/>
                  </a:lnTo>
                  <a:lnTo>
                    <a:pt x="70215" y="3370"/>
                  </a:lnTo>
                  <a:lnTo>
                    <a:pt x="70052" y="2935"/>
                  </a:lnTo>
                  <a:lnTo>
                    <a:pt x="69780" y="2500"/>
                  </a:lnTo>
                  <a:lnTo>
                    <a:pt x="69508" y="2120"/>
                  </a:lnTo>
                  <a:lnTo>
                    <a:pt x="69237" y="1739"/>
                  </a:lnTo>
                  <a:lnTo>
                    <a:pt x="68856" y="1413"/>
                  </a:lnTo>
                  <a:lnTo>
                    <a:pt x="68476" y="1087"/>
                  </a:lnTo>
                  <a:lnTo>
                    <a:pt x="68041" y="816"/>
                  </a:lnTo>
                  <a:lnTo>
                    <a:pt x="67606" y="544"/>
                  </a:lnTo>
                  <a:lnTo>
                    <a:pt x="67117" y="381"/>
                  </a:lnTo>
                  <a:lnTo>
                    <a:pt x="66628" y="218"/>
                  </a:lnTo>
                  <a:lnTo>
                    <a:pt x="66139" y="55"/>
                  </a:lnTo>
                  <a:lnTo>
                    <a:pt x="65596" y="0"/>
                  </a:lnTo>
                  <a:close/>
                </a:path>
              </a:pathLst>
            </a:custGeom>
            <a:solidFill>
              <a:srgbClr val="18837E"/>
            </a:solidFill>
            <a:ln>
              <a:noFill/>
            </a:ln>
          </p:spPr>
          <p:txBody>
            <a:bodyPr spcFirstLastPara="1" wrap="square" lIns="82259" tIns="82259" rIns="82259" bIns="82259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/>
            </a:p>
          </p:txBody>
        </p:sp>
        <p:sp>
          <p:nvSpPr>
            <p:cNvPr id="5" name="Google Shape;317;p19">
              <a:extLst>
                <a:ext uri="{FF2B5EF4-FFF2-40B4-BE49-F238E27FC236}">
                  <a16:creationId xmlns:a16="http://schemas.microsoft.com/office/drawing/2014/main" id="{836A02EA-522D-4BD1-99BF-2DCF594FD1A2}"/>
                </a:ext>
              </a:extLst>
            </p:cNvPr>
            <p:cNvSpPr/>
            <p:nvPr/>
          </p:nvSpPr>
          <p:spPr>
            <a:xfrm>
              <a:off x="729683" y="2931292"/>
              <a:ext cx="467670" cy="473516"/>
            </a:xfrm>
            <a:custGeom>
              <a:avLst/>
              <a:gdLst/>
              <a:ahLst/>
              <a:cxnLst/>
              <a:rect l="l" t="t" r="r" b="b"/>
              <a:pathLst>
                <a:path w="6739" h="6739" extrusionOk="0">
                  <a:moveTo>
                    <a:pt x="3043" y="0"/>
                  </a:moveTo>
                  <a:lnTo>
                    <a:pt x="2663" y="54"/>
                  </a:lnTo>
                  <a:lnTo>
                    <a:pt x="2391" y="163"/>
                  </a:lnTo>
                  <a:lnTo>
                    <a:pt x="2065" y="272"/>
                  </a:lnTo>
                  <a:lnTo>
                    <a:pt x="1467" y="543"/>
                  </a:lnTo>
                  <a:lnTo>
                    <a:pt x="978" y="978"/>
                  </a:lnTo>
                  <a:lnTo>
                    <a:pt x="598" y="1467"/>
                  </a:lnTo>
                  <a:lnTo>
                    <a:pt x="272" y="2065"/>
                  </a:lnTo>
                  <a:lnTo>
                    <a:pt x="163" y="2391"/>
                  </a:lnTo>
                  <a:lnTo>
                    <a:pt x="54" y="2663"/>
                  </a:lnTo>
                  <a:lnTo>
                    <a:pt x="0" y="3043"/>
                  </a:lnTo>
                  <a:lnTo>
                    <a:pt x="0" y="3369"/>
                  </a:lnTo>
                  <a:lnTo>
                    <a:pt x="0" y="3696"/>
                  </a:lnTo>
                  <a:lnTo>
                    <a:pt x="54" y="4076"/>
                  </a:lnTo>
                  <a:lnTo>
                    <a:pt x="163" y="4348"/>
                  </a:lnTo>
                  <a:lnTo>
                    <a:pt x="272" y="4674"/>
                  </a:lnTo>
                  <a:lnTo>
                    <a:pt x="598" y="5272"/>
                  </a:lnTo>
                  <a:lnTo>
                    <a:pt x="978" y="5761"/>
                  </a:lnTo>
                  <a:lnTo>
                    <a:pt x="1467" y="6141"/>
                  </a:lnTo>
                  <a:lnTo>
                    <a:pt x="2065" y="6467"/>
                  </a:lnTo>
                  <a:lnTo>
                    <a:pt x="2391" y="6576"/>
                  </a:lnTo>
                  <a:lnTo>
                    <a:pt x="2663" y="6685"/>
                  </a:lnTo>
                  <a:lnTo>
                    <a:pt x="3043" y="6739"/>
                  </a:lnTo>
                  <a:lnTo>
                    <a:pt x="3696" y="6739"/>
                  </a:lnTo>
                  <a:lnTo>
                    <a:pt x="4076" y="6685"/>
                  </a:lnTo>
                  <a:lnTo>
                    <a:pt x="4348" y="6576"/>
                  </a:lnTo>
                  <a:lnTo>
                    <a:pt x="4674" y="6467"/>
                  </a:lnTo>
                  <a:lnTo>
                    <a:pt x="5272" y="6141"/>
                  </a:lnTo>
                  <a:lnTo>
                    <a:pt x="5761" y="5761"/>
                  </a:lnTo>
                  <a:lnTo>
                    <a:pt x="6141" y="5272"/>
                  </a:lnTo>
                  <a:lnTo>
                    <a:pt x="6467" y="4674"/>
                  </a:lnTo>
                  <a:lnTo>
                    <a:pt x="6576" y="4348"/>
                  </a:lnTo>
                  <a:lnTo>
                    <a:pt x="6685" y="4076"/>
                  </a:lnTo>
                  <a:lnTo>
                    <a:pt x="6739" y="3696"/>
                  </a:lnTo>
                  <a:lnTo>
                    <a:pt x="6739" y="3369"/>
                  </a:lnTo>
                  <a:lnTo>
                    <a:pt x="6739" y="3043"/>
                  </a:lnTo>
                  <a:lnTo>
                    <a:pt x="6685" y="2663"/>
                  </a:lnTo>
                  <a:lnTo>
                    <a:pt x="6576" y="2391"/>
                  </a:lnTo>
                  <a:lnTo>
                    <a:pt x="6467" y="2065"/>
                  </a:lnTo>
                  <a:lnTo>
                    <a:pt x="6141" y="1467"/>
                  </a:lnTo>
                  <a:lnTo>
                    <a:pt x="5761" y="978"/>
                  </a:lnTo>
                  <a:lnTo>
                    <a:pt x="5272" y="543"/>
                  </a:lnTo>
                  <a:lnTo>
                    <a:pt x="4674" y="272"/>
                  </a:lnTo>
                  <a:lnTo>
                    <a:pt x="4348" y="163"/>
                  </a:lnTo>
                  <a:lnTo>
                    <a:pt x="4076" y="54"/>
                  </a:lnTo>
                  <a:lnTo>
                    <a:pt x="369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82259" tIns="82259" rIns="82259" bIns="82259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/>
            </a:p>
          </p:txBody>
        </p:sp>
        <p:sp>
          <p:nvSpPr>
            <p:cNvPr id="6" name="Google Shape;318;p19">
              <a:extLst>
                <a:ext uri="{FF2B5EF4-FFF2-40B4-BE49-F238E27FC236}">
                  <a16:creationId xmlns:a16="http://schemas.microsoft.com/office/drawing/2014/main" id="{C0710657-9C6B-4A50-AC8F-AA095FFA02C1}"/>
                </a:ext>
              </a:extLst>
            </p:cNvPr>
            <p:cNvSpPr/>
            <p:nvPr/>
          </p:nvSpPr>
          <p:spPr>
            <a:xfrm>
              <a:off x="3169971" y="3769595"/>
              <a:ext cx="467739" cy="477380"/>
            </a:xfrm>
            <a:custGeom>
              <a:avLst/>
              <a:gdLst/>
              <a:ahLst/>
              <a:cxnLst/>
              <a:rect l="l" t="t" r="r" b="b"/>
              <a:pathLst>
                <a:path w="6740" h="6794" extrusionOk="0">
                  <a:moveTo>
                    <a:pt x="3370" y="1"/>
                  </a:moveTo>
                  <a:lnTo>
                    <a:pt x="3044" y="55"/>
                  </a:lnTo>
                  <a:lnTo>
                    <a:pt x="2664" y="109"/>
                  </a:lnTo>
                  <a:lnTo>
                    <a:pt x="2392" y="164"/>
                  </a:lnTo>
                  <a:lnTo>
                    <a:pt x="2066" y="272"/>
                  </a:lnTo>
                  <a:lnTo>
                    <a:pt x="1468" y="598"/>
                  </a:lnTo>
                  <a:lnTo>
                    <a:pt x="979" y="1033"/>
                  </a:lnTo>
                  <a:lnTo>
                    <a:pt x="598" y="1522"/>
                  </a:lnTo>
                  <a:lnTo>
                    <a:pt x="272" y="2066"/>
                  </a:lnTo>
                  <a:lnTo>
                    <a:pt x="164" y="2392"/>
                  </a:lnTo>
                  <a:lnTo>
                    <a:pt x="55" y="2718"/>
                  </a:lnTo>
                  <a:lnTo>
                    <a:pt x="1" y="3044"/>
                  </a:lnTo>
                  <a:lnTo>
                    <a:pt x="1" y="3370"/>
                  </a:lnTo>
                  <a:lnTo>
                    <a:pt x="1" y="3750"/>
                  </a:lnTo>
                  <a:lnTo>
                    <a:pt x="55" y="4076"/>
                  </a:lnTo>
                  <a:lnTo>
                    <a:pt x="164" y="4403"/>
                  </a:lnTo>
                  <a:lnTo>
                    <a:pt x="272" y="4729"/>
                  </a:lnTo>
                  <a:lnTo>
                    <a:pt x="598" y="5272"/>
                  </a:lnTo>
                  <a:lnTo>
                    <a:pt x="979" y="5761"/>
                  </a:lnTo>
                  <a:lnTo>
                    <a:pt x="1468" y="6196"/>
                  </a:lnTo>
                  <a:lnTo>
                    <a:pt x="2066" y="6522"/>
                  </a:lnTo>
                  <a:lnTo>
                    <a:pt x="2392" y="6631"/>
                  </a:lnTo>
                  <a:lnTo>
                    <a:pt x="2664" y="6685"/>
                  </a:lnTo>
                  <a:lnTo>
                    <a:pt x="3044" y="6739"/>
                  </a:lnTo>
                  <a:lnTo>
                    <a:pt x="3370" y="6794"/>
                  </a:lnTo>
                  <a:lnTo>
                    <a:pt x="3696" y="6739"/>
                  </a:lnTo>
                  <a:lnTo>
                    <a:pt x="4077" y="6685"/>
                  </a:lnTo>
                  <a:lnTo>
                    <a:pt x="4348" y="6631"/>
                  </a:lnTo>
                  <a:lnTo>
                    <a:pt x="4674" y="6522"/>
                  </a:lnTo>
                  <a:lnTo>
                    <a:pt x="5272" y="6196"/>
                  </a:lnTo>
                  <a:lnTo>
                    <a:pt x="5761" y="5761"/>
                  </a:lnTo>
                  <a:lnTo>
                    <a:pt x="6142" y="5272"/>
                  </a:lnTo>
                  <a:lnTo>
                    <a:pt x="6468" y="4729"/>
                  </a:lnTo>
                  <a:lnTo>
                    <a:pt x="6576" y="4403"/>
                  </a:lnTo>
                  <a:lnTo>
                    <a:pt x="6685" y="4076"/>
                  </a:lnTo>
                  <a:lnTo>
                    <a:pt x="6739" y="3750"/>
                  </a:lnTo>
                  <a:lnTo>
                    <a:pt x="6739" y="3370"/>
                  </a:lnTo>
                  <a:lnTo>
                    <a:pt x="6739" y="3044"/>
                  </a:lnTo>
                  <a:lnTo>
                    <a:pt x="6685" y="2718"/>
                  </a:lnTo>
                  <a:lnTo>
                    <a:pt x="6576" y="2392"/>
                  </a:lnTo>
                  <a:lnTo>
                    <a:pt x="6468" y="2066"/>
                  </a:lnTo>
                  <a:lnTo>
                    <a:pt x="6142" y="1522"/>
                  </a:lnTo>
                  <a:lnTo>
                    <a:pt x="5761" y="1033"/>
                  </a:lnTo>
                  <a:lnTo>
                    <a:pt x="5272" y="598"/>
                  </a:lnTo>
                  <a:lnTo>
                    <a:pt x="4674" y="272"/>
                  </a:lnTo>
                  <a:lnTo>
                    <a:pt x="4348" y="164"/>
                  </a:lnTo>
                  <a:lnTo>
                    <a:pt x="4077" y="109"/>
                  </a:lnTo>
                  <a:lnTo>
                    <a:pt x="3696" y="55"/>
                  </a:lnTo>
                  <a:lnTo>
                    <a:pt x="3370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82259" tIns="82259" rIns="82259" bIns="82259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/>
            </a:p>
          </p:txBody>
        </p:sp>
        <p:sp>
          <p:nvSpPr>
            <p:cNvPr id="7" name="Google Shape;319;p19">
              <a:extLst>
                <a:ext uri="{FF2B5EF4-FFF2-40B4-BE49-F238E27FC236}">
                  <a16:creationId xmlns:a16="http://schemas.microsoft.com/office/drawing/2014/main" id="{CD970CF7-8F0C-459E-8987-60D283B508F3}"/>
                </a:ext>
              </a:extLst>
            </p:cNvPr>
            <p:cNvSpPr/>
            <p:nvPr/>
          </p:nvSpPr>
          <p:spPr>
            <a:xfrm>
              <a:off x="7100382" y="2227835"/>
              <a:ext cx="467670" cy="477451"/>
            </a:xfrm>
            <a:custGeom>
              <a:avLst/>
              <a:gdLst/>
              <a:ahLst/>
              <a:cxnLst/>
              <a:rect l="l" t="t" r="r" b="b"/>
              <a:pathLst>
                <a:path w="6739" h="6795" extrusionOk="0">
                  <a:moveTo>
                    <a:pt x="3369" y="1"/>
                  </a:moveTo>
                  <a:lnTo>
                    <a:pt x="3043" y="55"/>
                  </a:lnTo>
                  <a:lnTo>
                    <a:pt x="2663" y="110"/>
                  </a:lnTo>
                  <a:lnTo>
                    <a:pt x="2391" y="164"/>
                  </a:lnTo>
                  <a:lnTo>
                    <a:pt x="2065" y="273"/>
                  </a:lnTo>
                  <a:lnTo>
                    <a:pt x="1467" y="599"/>
                  </a:lnTo>
                  <a:lnTo>
                    <a:pt x="978" y="1034"/>
                  </a:lnTo>
                  <a:lnTo>
                    <a:pt x="598" y="1523"/>
                  </a:lnTo>
                  <a:lnTo>
                    <a:pt x="272" y="2066"/>
                  </a:lnTo>
                  <a:lnTo>
                    <a:pt x="163" y="2392"/>
                  </a:lnTo>
                  <a:lnTo>
                    <a:pt x="54" y="2718"/>
                  </a:lnTo>
                  <a:lnTo>
                    <a:pt x="0" y="3044"/>
                  </a:lnTo>
                  <a:lnTo>
                    <a:pt x="0" y="3370"/>
                  </a:lnTo>
                  <a:lnTo>
                    <a:pt x="0" y="3751"/>
                  </a:lnTo>
                  <a:lnTo>
                    <a:pt x="54" y="4077"/>
                  </a:lnTo>
                  <a:lnTo>
                    <a:pt x="163" y="4403"/>
                  </a:lnTo>
                  <a:lnTo>
                    <a:pt x="272" y="4729"/>
                  </a:lnTo>
                  <a:lnTo>
                    <a:pt x="598" y="5273"/>
                  </a:lnTo>
                  <a:lnTo>
                    <a:pt x="978" y="5762"/>
                  </a:lnTo>
                  <a:lnTo>
                    <a:pt x="1467" y="6196"/>
                  </a:lnTo>
                  <a:lnTo>
                    <a:pt x="2065" y="6522"/>
                  </a:lnTo>
                  <a:lnTo>
                    <a:pt x="2391" y="6631"/>
                  </a:lnTo>
                  <a:lnTo>
                    <a:pt x="2663" y="6685"/>
                  </a:lnTo>
                  <a:lnTo>
                    <a:pt x="3043" y="6740"/>
                  </a:lnTo>
                  <a:lnTo>
                    <a:pt x="3369" y="6794"/>
                  </a:lnTo>
                  <a:lnTo>
                    <a:pt x="3696" y="6740"/>
                  </a:lnTo>
                  <a:lnTo>
                    <a:pt x="4076" y="6685"/>
                  </a:lnTo>
                  <a:lnTo>
                    <a:pt x="4348" y="6631"/>
                  </a:lnTo>
                  <a:lnTo>
                    <a:pt x="4674" y="6522"/>
                  </a:lnTo>
                  <a:lnTo>
                    <a:pt x="5272" y="6196"/>
                  </a:lnTo>
                  <a:lnTo>
                    <a:pt x="5761" y="5762"/>
                  </a:lnTo>
                  <a:lnTo>
                    <a:pt x="6141" y="5273"/>
                  </a:lnTo>
                  <a:lnTo>
                    <a:pt x="6467" y="4729"/>
                  </a:lnTo>
                  <a:lnTo>
                    <a:pt x="6576" y="4403"/>
                  </a:lnTo>
                  <a:lnTo>
                    <a:pt x="6685" y="4077"/>
                  </a:lnTo>
                  <a:lnTo>
                    <a:pt x="6739" y="3751"/>
                  </a:lnTo>
                  <a:lnTo>
                    <a:pt x="6739" y="3370"/>
                  </a:lnTo>
                  <a:lnTo>
                    <a:pt x="6739" y="3044"/>
                  </a:lnTo>
                  <a:lnTo>
                    <a:pt x="6685" y="2718"/>
                  </a:lnTo>
                  <a:lnTo>
                    <a:pt x="6576" y="2392"/>
                  </a:lnTo>
                  <a:lnTo>
                    <a:pt x="6467" y="2066"/>
                  </a:lnTo>
                  <a:lnTo>
                    <a:pt x="6141" y="1523"/>
                  </a:lnTo>
                  <a:lnTo>
                    <a:pt x="5761" y="1034"/>
                  </a:lnTo>
                  <a:lnTo>
                    <a:pt x="5272" y="599"/>
                  </a:lnTo>
                  <a:lnTo>
                    <a:pt x="4674" y="273"/>
                  </a:lnTo>
                  <a:lnTo>
                    <a:pt x="4348" y="164"/>
                  </a:lnTo>
                  <a:lnTo>
                    <a:pt x="4076" y="110"/>
                  </a:lnTo>
                  <a:lnTo>
                    <a:pt x="3696" y="55"/>
                  </a:lnTo>
                  <a:lnTo>
                    <a:pt x="3369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82259" tIns="82259" rIns="82259" bIns="82259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/>
            </a:p>
          </p:txBody>
        </p:sp>
        <p:sp>
          <p:nvSpPr>
            <p:cNvPr id="8" name="Google Shape;320;p19">
              <a:extLst>
                <a:ext uri="{FF2B5EF4-FFF2-40B4-BE49-F238E27FC236}">
                  <a16:creationId xmlns:a16="http://schemas.microsoft.com/office/drawing/2014/main" id="{4F26A6D5-5810-4E96-9B29-EA8A9DAC9E8B}"/>
                </a:ext>
              </a:extLst>
            </p:cNvPr>
            <p:cNvSpPr/>
            <p:nvPr/>
          </p:nvSpPr>
          <p:spPr>
            <a:xfrm>
              <a:off x="6125015" y="3425284"/>
              <a:ext cx="467670" cy="477451"/>
            </a:xfrm>
            <a:custGeom>
              <a:avLst/>
              <a:gdLst/>
              <a:ahLst/>
              <a:cxnLst/>
              <a:rect l="l" t="t" r="r" b="b"/>
              <a:pathLst>
                <a:path w="6739" h="6795" extrusionOk="0">
                  <a:moveTo>
                    <a:pt x="3369" y="1"/>
                  </a:moveTo>
                  <a:lnTo>
                    <a:pt x="3043" y="55"/>
                  </a:lnTo>
                  <a:lnTo>
                    <a:pt x="2663" y="110"/>
                  </a:lnTo>
                  <a:lnTo>
                    <a:pt x="2391" y="164"/>
                  </a:lnTo>
                  <a:lnTo>
                    <a:pt x="2065" y="273"/>
                  </a:lnTo>
                  <a:lnTo>
                    <a:pt x="1467" y="599"/>
                  </a:lnTo>
                  <a:lnTo>
                    <a:pt x="978" y="1034"/>
                  </a:lnTo>
                  <a:lnTo>
                    <a:pt x="598" y="1523"/>
                  </a:lnTo>
                  <a:lnTo>
                    <a:pt x="272" y="2066"/>
                  </a:lnTo>
                  <a:lnTo>
                    <a:pt x="163" y="2392"/>
                  </a:lnTo>
                  <a:lnTo>
                    <a:pt x="54" y="2718"/>
                  </a:lnTo>
                  <a:lnTo>
                    <a:pt x="0" y="3044"/>
                  </a:lnTo>
                  <a:lnTo>
                    <a:pt x="0" y="3370"/>
                  </a:lnTo>
                  <a:lnTo>
                    <a:pt x="0" y="3751"/>
                  </a:lnTo>
                  <a:lnTo>
                    <a:pt x="54" y="4077"/>
                  </a:lnTo>
                  <a:lnTo>
                    <a:pt x="163" y="4403"/>
                  </a:lnTo>
                  <a:lnTo>
                    <a:pt x="272" y="4729"/>
                  </a:lnTo>
                  <a:lnTo>
                    <a:pt x="598" y="5273"/>
                  </a:lnTo>
                  <a:lnTo>
                    <a:pt x="978" y="5762"/>
                  </a:lnTo>
                  <a:lnTo>
                    <a:pt x="1467" y="6196"/>
                  </a:lnTo>
                  <a:lnTo>
                    <a:pt x="2065" y="6522"/>
                  </a:lnTo>
                  <a:lnTo>
                    <a:pt x="2391" y="6631"/>
                  </a:lnTo>
                  <a:lnTo>
                    <a:pt x="2663" y="6685"/>
                  </a:lnTo>
                  <a:lnTo>
                    <a:pt x="3043" y="6740"/>
                  </a:lnTo>
                  <a:lnTo>
                    <a:pt x="3369" y="6794"/>
                  </a:lnTo>
                  <a:lnTo>
                    <a:pt x="3696" y="6740"/>
                  </a:lnTo>
                  <a:lnTo>
                    <a:pt x="4076" y="6685"/>
                  </a:lnTo>
                  <a:lnTo>
                    <a:pt x="4348" y="6631"/>
                  </a:lnTo>
                  <a:lnTo>
                    <a:pt x="4674" y="6522"/>
                  </a:lnTo>
                  <a:lnTo>
                    <a:pt x="5272" y="6196"/>
                  </a:lnTo>
                  <a:lnTo>
                    <a:pt x="5761" y="5762"/>
                  </a:lnTo>
                  <a:lnTo>
                    <a:pt x="6141" y="5273"/>
                  </a:lnTo>
                  <a:lnTo>
                    <a:pt x="6467" y="4729"/>
                  </a:lnTo>
                  <a:lnTo>
                    <a:pt x="6576" y="4403"/>
                  </a:lnTo>
                  <a:lnTo>
                    <a:pt x="6685" y="4077"/>
                  </a:lnTo>
                  <a:lnTo>
                    <a:pt x="6739" y="3751"/>
                  </a:lnTo>
                  <a:lnTo>
                    <a:pt x="6739" y="3370"/>
                  </a:lnTo>
                  <a:lnTo>
                    <a:pt x="6739" y="3044"/>
                  </a:lnTo>
                  <a:lnTo>
                    <a:pt x="6685" y="2718"/>
                  </a:lnTo>
                  <a:lnTo>
                    <a:pt x="6576" y="2392"/>
                  </a:lnTo>
                  <a:lnTo>
                    <a:pt x="6467" y="2066"/>
                  </a:lnTo>
                  <a:lnTo>
                    <a:pt x="6141" y="1523"/>
                  </a:lnTo>
                  <a:lnTo>
                    <a:pt x="5761" y="1034"/>
                  </a:lnTo>
                  <a:lnTo>
                    <a:pt x="5272" y="599"/>
                  </a:lnTo>
                  <a:lnTo>
                    <a:pt x="4674" y="273"/>
                  </a:lnTo>
                  <a:lnTo>
                    <a:pt x="4348" y="164"/>
                  </a:lnTo>
                  <a:lnTo>
                    <a:pt x="4076" y="110"/>
                  </a:lnTo>
                  <a:lnTo>
                    <a:pt x="3696" y="55"/>
                  </a:lnTo>
                  <a:lnTo>
                    <a:pt x="3369" y="1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spcFirstLastPara="1" wrap="square" lIns="82259" tIns="82259" rIns="82259" bIns="82259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/>
            </a:p>
          </p:txBody>
        </p:sp>
        <p:sp>
          <p:nvSpPr>
            <p:cNvPr id="9" name="Google Shape;321;p19">
              <a:extLst>
                <a:ext uri="{FF2B5EF4-FFF2-40B4-BE49-F238E27FC236}">
                  <a16:creationId xmlns:a16="http://schemas.microsoft.com/office/drawing/2014/main" id="{27227780-DDDA-4610-9923-75CAFA006926}"/>
                </a:ext>
              </a:extLst>
            </p:cNvPr>
            <p:cNvSpPr/>
            <p:nvPr/>
          </p:nvSpPr>
          <p:spPr>
            <a:xfrm>
              <a:off x="5551690" y="1663407"/>
              <a:ext cx="467670" cy="477380"/>
            </a:xfrm>
            <a:custGeom>
              <a:avLst/>
              <a:gdLst/>
              <a:ahLst/>
              <a:cxnLst/>
              <a:rect l="l" t="t" r="r" b="b"/>
              <a:pathLst>
                <a:path w="6739" h="6794" extrusionOk="0">
                  <a:moveTo>
                    <a:pt x="3369" y="1"/>
                  </a:moveTo>
                  <a:lnTo>
                    <a:pt x="3043" y="55"/>
                  </a:lnTo>
                  <a:lnTo>
                    <a:pt x="2663" y="109"/>
                  </a:lnTo>
                  <a:lnTo>
                    <a:pt x="2391" y="164"/>
                  </a:lnTo>
                  <a:lnTo>
                    <a:pt x="2065" y="272"/>
                  </a:lnTo>
                  <a:lnTo>
                    <a:pt x="1467" y="598"/>
                  </a:lnTo>
                  <a:lnTo>
                    <a:pt x="978" y="1033"/>
                  </a:lnTo>
                  <a:lnTo>
                    <a:pt x="598" y="1522"/>
                  </a:lnTo>
                  <a:lnTo>
                    <a:pt x="272" y="2066"/>
                  </a:lnTo>
                  <a:lnTo>
                    <a:pt x="163" y="2392"/>
                  </a:lnTo>
                  <a:lnTo>
                    <a:pt x="54" y="2718"/>
                  </a:lnTo>
                  <a:lnTo>
                    <a:pt x="0" y="3044"/>
                  </a:lnTo>
                  <a:lnTo>
                    <a:pt x="0" y="3370"/>
                  </a:lnTo>
                  <a:lnTo>
                    <a:pt x="0" y="3751"/>
                  </a:lnTo>
                  <a:lnTo>
                    <a:pt x="54" y="4077"/>
                  </a:lnTo>
                  <a:lnTo>
                    <a:pt x="163" y="4403"/>
                  </a:lnTo>
                  <a:lnTo>
                    <a:pt x="272" y="4729"/>
                  </a:lnTo>
                  <a:lnTo>
                    <a:pt x="598" y="5272"/>
                  </a:lnTo>
                  <a:lnTo>
                    <a:pt x="978" y="5761"/>
                  </a:lnTo>
                  <a:lnTo>
                    <a:pt x="1467" y="6196"/>
                  </a:lnTo>
                  <a:lnTo>
                    <a:pt x="2065" y="6522"/>
                  </a:lnTo>
                  <a:lnTo>
                    <a:pt x="2391" y="6631"/>
                  </a:lnTo>
                  <a:lnTo>
                    <a:pt x="2663" y="6685"/>
                  </a:lnTo>
                  <a:lnTo>
                    <a:pt x="3043" y="6740"/>
                  </a:lnTo>
                  <a:lnTo>
                    <a:pt x="3369" y="6794"/>
                  </a:lnTo>
                  <a:lnTo>
                    <a:pt x="3696" y="6740"/>
                  </a:lnTo>
                  <a:lnTo>
                    <a:pt x="4076" y="6685"/>
                  </a:lnTo>
                  <a:lnTo>
                    <a:pt x="4348" y="6631"/>
                  </a:lnTo>
                  <a:lnTo>
                    <a:pt x="4674" y="6522"/>
                  </a:lnTo>
                  <a:lnTo>
                    <a:pt x="5272" y="6196"/>
                  </a:lnTo>
                  <a:lnTo>
                    <a:pt x="5761" y="5761"/>
                  </a:lnTo>
                  <a:lnTo>
                    <a:pt x="6141" y="5272"/>
                  </a:lnTo>
                  <a:lnTo>
                    <a:pt x="6467" y="4729"/>
                  </a:lnTo>
                  <a:lnTo>
                    <a:pt x="6576" y="4403"/>
                  </a:lnTo>
                  <a:lnTo>
                    <a:pt x="6685" y="4077"/>
                  </a:lnTo>
                  <a:lnTo>
                    <a:pt x="6739" y="3751"/>
                  </a:lnTo>
                  <a:lnTo>
                    <a:pt x="6739" y="3370"/>
                  </a:lnTo>
                  <a:lnTo>
                    <a:pt x="6739" y="3044"/>
                  </a:lnTo>
                  <a:lnTo>
                    <a:pt x="6685" y="2718"/>
                  </a:lnTo>
                  <a:lnTo>
                    <a:pt x="6576" y="2392"/>
                  </a:lnTo>
                  <a:lnTo>
                    <a:pt x="6467" y="2066"/>
                  </a:lnTo>
                  <a:lnTo>
                    <a:pt x="6141" y="1522"/>
                  </a:lnTo>
                  <a:lnTo>
                    <a:pt x="5761" y="1033"/>
                  </a:lnTo>
                  <a:lnTo>
                    <a:pt x="5272" y="598"/>
                  </a:lnTo>
                  <a:lnTo>
                    <a:pt x="4674" y="272"/>
                  </a:lnTo>
                  <a:lnTo>
                    <a:pt x="4348" y="164"/>
                  </a:lnTo>
                  <a:lnTo>
                    <a:pt x="4076" y="109"/>
                  </a:lnTo>
                  <a:lnTo>
                    <a:pt x="3696" y="55"/>
                  </a:lnTo>
                  <a:lnTo>
                    <a:pt x="3369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82259" tIns="82259" rIns="82259" bIns="82259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/>
            </a:p>
          </p:txBody>
        </p:sp>
        <p:sp>
          <p:nvSpPr>
            <p:cNvPr id="10" name="Google Shape;322;p19">
              <a:extLst>
                <a:ext uri="{FF2B5EF4-FFF2-40B4-BE49-F238E27FC236}">
                  <a16:creationId xmlns:a16="http://schemas.microsoft.com/office/drawing/2014/main" id="{5E5BDDDB-C8F8-4C78-B03D-C604F0D20900}"/>
                </a:ext>
              </a:extLst>
            </p:cNvPr>
            <p:cNvSpPr/>
            <p:nvPr/>
          </p:nvSpPr>
          <p:spPr>
            <a:xfrm>
              <a:off x="4453064" y="2601433"/>
              <a:ext cx="467739" cy="477380"/>
            </a:xfrm>
            <a:custGeom>
              <a:avLst/>
              <a:gdLst/>
              <a:ahLst/>
              <a:cxnLst/>
              <a:rect l="l" t="t" r="r" b="b"/>
              <a:pathLst>
                <a:path w="6740" h="6794" extrusionOk="0">
                  <a:moveTo>
                    <a:pt x="3370" y="1"/>
                  </a:moveTo>
                  <a:lnTo>
                    <a:pt x="3044" y="55"/>
                  </a:lnTo>
                  <a:lnTo>
                    <a:pt x="2663" y="109"/>
                  </a:lnTo>
                  <a:lnTo>
                    <a:pt x="2392" y="164"/>
                  </a:lnTo>
                  <a:lnTo>
                    <a:pt x="2066" y="272"/>
                  </a:lnTo>
                  <a:lnTo>
                    <a:pt x="1468" y="599"/>
                  </a:lnTo>
                  <a:lnTo>
                    <a:pt x="979" y="1033"/>
                  </a:lnTo>
                  <a:lnTo>
                    <a:pt x="598" y="1522"/>
                  </a:lnTo>
                  <a:lnTo>
                    <a:pt x="272" y="2066"/>
                  </a:lnTo>
                  <a:lnTo>
                    <a:pt x="164" y="2392"/>
                  </a:lnTo>
                  <a:lnTo>
                    <a:pt x="55" y="2718"/>
                  </a:lnTo>
                  <a:lnTo>
                    <a:pt x="0" y="3044"/>
                  </a:lnTo>
                  <a:lnTo>
                    <a:pt x="0" y="3370"/>
                  </a:lnTo>
                  <a:lnTo>
                    <a:pt x="0" y="3751"/>
                  </a:lnTo>
                  <a:lnTo>
                    <a:pt x="55" y="4077"/>
                  </a:lnTo>
                  <a:lnTo>
                    <a:pt x="164" y="4403"/>
                  </a:lnTo>
                  <a:lnTo>
                    <a:pt x="272" y="4729"/>
                  </a:lnTo>
                  <a:lnTo>
                    <a:pt x="598" y="5272"/>
                  </a:lnTo>
                  <a:lnTo>
                    <a:pt x="979" y="5761"/>
                  </a:lnTo>
                  <a:lnTo>
                    <a:pt x="1468" y="6196"/>
                  </a:lnTo>
                  <a:lnTo>
                    <a:pt x="2066" y="6522"/>
                  </a:lnTo>
                  <a:lnTo>
                    <a:pt x="2392" y="6631"/>
                  </a:lnTo>
                  <a:lnTo>
                    <a:pt x="2663" y="6685"/>
                  </a:lnTo>
                  <a:lnTo>
                    <a:pt x="3044" y="6740"/>
                  </a:lnTo>
                  <a:lnTo>
                    <a:pt x="3370" y="6794"/>
                  </a:lnTo>
                  <a:lnTo>
                    <a:pt x="3696" y="6740"/>
                  </a:lnTo>
                  <a:lnTo>
                    <a:pt x="4076" y="6685"/>
                  </a:lnTo>
                  <a:lnTo>
                    <a:pt x="4348" y="6631"/>
                  </a:lnTo>
                  <a:lnTo>
                    <a:pt x="4674" y="6522"/>
                  </a:lnTo>
                  <a:lnTo>
                    <a:pt x="5272" y="6196"/>
                  </a:lnTo>
                  <a:lnTo>
                    <a:pt x="5761" y="5761"/>
                  </a:lnTo>
                  <a:lnTo>
                    <a:pt x="6142" y="5272"/>
                  </a:lnTo>
                  <a:lnTo>
                    <a:pt x="6468" y="4729"/>
                  </a:lnTo>
                  <a:lnTo>
                    <a:pt x="6576" y="4403"/>
                  </a:lnTo>
                  <a:lnTo>
                    <a:pt x="6685" y="4077"/>
                  </a:lnTo>
                  <a:lnTo>
                    <a:pt x="6739" y="3751"/>
                  </a:lnTo>
                  <a:lnTo>
                    <a:pt x="6739" y="3370"/>
                  </a:lnTo>
                  <a:lnTo>
                    <a:pt x="6739" y="3044"/>
                  </a:lnTo>
                  <a:lnTo>
                    <a:pt x="6685" y="2718"/>
                  </a:lnTo>
                  <a:lnTo>
                    <a:pt x="6576" y="2392"/>
                  </a:lnTo>
                  <a:lnTo>
                    <a:pt x="6468" y="2066"/>
                  </a:lnTo>
                  <a:lnTo>
                    <a:pt x="6142" y="1522"/>
                  </a:lnTo>
                  <a:lnTo>
                    <a:pt x="5761" y="1033"/>
                  </a:lnTo>
                  <a:lnTo>
                    <a:pt x="5272" y="599"/>
                  </a:lnTo>
                  <a:lnTo>
                    <a:pt x="4674" y="272"/>
                  </a:lnTo>
                  <a:lnTo>
                    <a:pt x="4348" y="164"/>
                  </a:lnTo>
                  <a:lnTo>
                    <a:pt x="4076" y="109"/>
                  </a:lnTo>
                  <a:lnTo>
                    <a:pt x="3696" y="55"/>
                  </a:lnTo>
                  <a:lnTo>
                    <a:pt x="337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82259" tIns="82259" rIns="82259" bIns="82259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/>
            </a:p>
          </p:txBody>
        </p:sp>
        <p:sp>
          <p:nvSpPr>
            <p:cNvPr id="11" name="Google Shape;323;p19">
              <a:extLst>
                <a:ext uri="{FF2B5EF4-FFF2-40B4-BE49-F238E27FC236}">
                  <a16:creationId xmlns:a16="http://schemas.microsoft.com/office/drawing/2014/main" id="{B3121F83-350D-4136-B67A-2A8BEA1C1460}"/>
                </a:ext>
              </a:extLst>
            </p:cNvPr>
            <p:cNvSpPr/>
            <p:nvPr/>
          </p:nvSpPr>
          <p:spPr>
            <a:xfrm>
              <a:off x="3591645" y="1926494"/>
              <a:ext cx="467739" cy="477451"/>
            </a:xfrm>
            <a:custGeom>
              <a:avLst/>
              <a:gdLst/>
              <a:ahLst/>
              <a:cxnLst/>
              <a:rect l="l" t="t" r="r" b="b"/>
              <a:pathLst>
                <a:path w="6740" h="6795" extrusionOk="0">
                  <a:moveTo>
                    <a:pt x="3370" y="1"/>
                  </a:moveTo>
                  <a:lnTo>
                    <a:pt x="3044" y="55"/>
                  </a:lnTo>
                  <a:lnTo>
                    <a:pt x="2664" y="110"/>
                  </a:lnTo>
                  <a:lnTo>
                    <a:pt x="2392" y="164"/>
                  </a:lnTo>
                  <a:lnTo>
                    <a:pt x="2066" y="273"/>
                  </a:lnTo>
                  <a:lnTo>
                    <a:pt x="1468" y="599"/>
                  </a:lnTo>
                  <a:lnTo>
                    <a:pt x="979" y="1033"/>
                  </a:lnTo>
                  <a:lnTo>
                    <a:pt x="599" y="1523"/>
                  </a:lnTo>
                  <a:lnTo>
                    <a:pt x="273" y="2066"/>
                  </a:lnTo>
                  <a:lnTo>
                    <a:pt x="164" y="2392"/>
                  </a:lnTo>
                  <a:lnTo>
                    <a:pt x="55" y="2718"/>
                  </a:lnTo>
                  <a:lnTo>
                    <a:pt x="1" y="3044"/>
                  </a:lnTo>
                  <a:lnTo>
                    <a:pt x="1" y="3370"/>
                  </a:lnTo>
                  <a:lnTo>
                    <a:pt x="1" y="3751"/>
                  </a:lnTo>
                  <a:lnTo>
                    <a:pt x="55" y="4077"/>
                  </a:lnTo>
                  <a:lnTo>
                    <a:pt x="164" y="4403"/>
                  </a:lnTo>
                  <a:lnTo>
                    <a:pt x="273" y="4729"/>
                  </a:lnTo>
                  <a:lnTo>
                    <a:pt x="599" y="5272"/>
                  </a:lnTo>
                  <a:lnTo>
                    <a:pt x="979" y="5761"/>
                  </a:lnTo>
                  <a:lnTo>
                    <a:pt x="1468" y="6196"/>
                  </a:lnTo>
                  <a:lnTo>
                    <a:pt x="2066" y="6522"/>
                  </a:lnTo>
                  <a:lnTo>
                    <a:pt x="2392" y="6631"/>
                  </a:lnTo>
                  <a:lnTo>
                    <a:pt x="2664" y="6685"/>
                  </a:lnTo>
                  <a:lnTo>
                    <a:pt x="3044" y="6740"/>
                  </a:lnTo>
                  <a:lnTo>
                    <a:pt x="3370" y="6794"/>
                  </a:lnTo>
                  <a:lnTo>
                    <a:pt x="3696" y="6740"/>
                  </a:lnTo>
                  <a:lnTo>
                    <a:pt x="4077" y="6685"/>
                  </a:lnTo>
                  <a:lnTo>
                    <a:pt x="4348" y="6631"/>
                  </a:lnTo>
                  <a:lnTo>
                    <a:pt x="4675" y="6522"/>
                  </a:lnTo>
                  <a:lnTo>
                    <a:pt x="5272" y="6196"/>
                  </a:lnTo>
                  <a:lnTo>
                    <a:pt x="5761" y="5761"/>
                  </a:lnTo>
                  <a:lnTo>
                    <a:pt x="6142" y="5272"/>
                  </a:lnTo>
                  <a:lnTo>
                    <a:pt x="6468" y="4729"/>
                  </a:lnTo>
                  <a:lnTo>
                    <a:pt x="6577" y="4403"/>
                  </a:lnTo>
                  <a:lnTo>
                    <a:pt x="6685" y="4077"/>
                  </a:lnTo>
                  <a:lnTo>
                    <a:pt x="6740" y="3751"/>
                  </a:lnTo>
                  <a:lnTo>
                    <a:pt x="6740" y="3370"/>
                  </a:lnTo>
                  <a:lnTo>
                    <a:pt x="6740" y="3044"/>
                  </a:lnTo>
                  <a:lnTo>
                    <a:pt x="6685" y="2718"/>
                  </a:lnTo>
                  <a:lnTo>
                    <a:pt x="6577" y="2392"/>
                  </a:lnTo>
                  <a:lnTo>
                    <a:pt x="6468" y="2066"/>
                  </a:lnTo>
                  <a:lnTo>
                    <a:pt x="6142" y="1523"/>
                  </a:lnTo>
                  <a:lnTo>
                    <a:pt x="5761" y="1033"/>
                  </a:lnTo>
                  <a:lnTo>
                    <a:pt x="5272" y="599"/>
                  </a:lnTo>
                  <a:lnTo>
                    <a:pt x="4675" y="273"/>
                  </a:lnTo>
                  <a:lnTo>
                    <a:pt x="4348" y="164"/>
                  </a:lnTo>
                  <a:lnTo>
                    <a:pt x="4077" y="110"/>
                  </a:lnTo>
                  <a:lnTo>
                    <a:pt x="3696" y="55"/>
                  </a:lnTo>
                  <a:lnTo>
                    <a:pt x="337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82259" tIns="82259" rIns="82259" bIns="82259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/>
            </a:p>
          </p:txBody>
        </p:sp>
        <p:sp>
          <p:nvSpPr>
            <p:cNvPr id="14" name="Google Shape;326;p19">
              <a:extLst>
                <a:ext uri="{FF2B5EF4-FFF2-40B4-BE49-F238E27FC236}">
                  <a16:creationId xmlns:a16="http://schemas.microsoft.com/office/drawing/2014/main" id="{FC6F7165-194A-44A1-8C3D-04FF40DF1907}"/>
                </a:ext>
              </a:extLst>
            </p:cNvPr>
            <p:cNvSpPr/>
            <p:nvPr/>
          </p:nvSpPr>
          <p:spPr>
            <a:xfrm>
              <a:off x="1456221" y="3145382"/>
              <a:ext cx="91510" cy="86248"/>
            </a:xfrm>
            <a:custGeom>
              <a:avLst/>
              <a:gdLst/>
              <a:ahLst/>
              <a:cxnLst/>
              <a:rect l="l" t="t" r="r" b="b"/>
              <a:pathLst>
                <a:path w="5883" h="5664" extrusionOk="0">
                  <a:moveTo>
                    <a:pt x="3054" y="1132"/>
                  </a:moveTo>
                  <a:cubicBezTo>
                    <a:pt x="3495" y="1132"/>
                    <a:pt x="3930" y="1304"/>
                    <a:pt x="4255" y="1630"/>
                  </a:cubicBezTo>
                  <a:cubicBezTo>
                    <a:pt x="4738" y="2116"/>
                    <a:pt x="4886" y="2846"/>
                    <a:pt x="4624" y="3480"/>
                  </a:cubicBezTo>
                  <a:cubicBezTo>
                    <a:pt x="4358" y="4115"/>
                    <a:pt x="3739" y="4531"/>
                    <a:pt x="3053" y="4531"/>
                  </a:cubicBezTo>
                  <a:cubicBezTo>
                    <a:pt x="2114" y="4528"/>
                    <a:pt x="1357" y="3770"/>
                    <a:pt x="1353" y="2831"/>
                  </a:cubicBezTo>
                  <a:cubicBezTo>
                    <a:pt x="1353" y="2143"/>
                    <a:pt x="1767" y="1524"/>
                    <a:pt x="2404" y="1261"/>
                  </a:cubicBezTo>
                  <a:cubicBezTo>
                    <a:pt x="2614" y="1174"/>
                    <a:pt x="2835" y="1132"/>
                    <a:pt x="3054" y="1132"/>
                  </a:cubicBezTo>
                  <a:close/>
                  <a:moveTo>
                    <a:pt x="3053" y="1"/>
                  </a:moveTo>
                  <a:cubicBezTo>
                    <a:pt x="2316" y="1"/>
                    <a:pt x="1593" y="288"/>
                    <a:pt x="1052" y="829"/>
                  </a:cubicBezTo>
                  <a:cubicBezTo>
                    <a:pt x="242" y="1639"/>
                    <a:pt x="1" y="2855"/>
                    <a:pt x="439" y="3915"/>
                  </a:cubicBezTo>
                  <a:cubicBezTo>
                    <a:pt x="876" y="4972"/>
                    <a:pt x="1909" y="5663"/>
                    <a:pt x="3053" y="5663"/>
                  </a:cubicBezTo>
                  <a:cubicBezTo>
                    <a:pt x="4614" y="5660"/>
                    <a:pt x="5883" y="4395"/>
                    <a:pt x="5883" y="2831"/>
                  </a:cubicBezTo>
                  <a:cubicBezTo>
                    <a:pt x="5883" y="1687"/>
                    <a:pt x="5194" y="654"/>
                    <a:pt x="4137" y="216"/>
                  </a:cubicBezTo>
                  <a:cubicBezTo>
                    <a:pt x="3786" y="71"/>
                    <a:pt x="3418" y="1"/>
                    <a:pt x="305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82259" tIns="82259" rIns="82259" bIns="82259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>
                <a:solidFill>
                  <a:srgbClr val="435D74"/>
                </a:solidFill>
              </a:endParaRPr>
            </a:p>
          </p:txBody>
        </p:sp>
        <p:grpSp>
          <p:nvGrpSpPr>
            <p:cNvPr id="15" name="Google Shape;327;p19">
              <a:extLst>
                <a:ext uri="{FF2B5EF4-FFF2-40B4-BE49-F238E27FC236}">
                  <a16:creationId xmlns:a16="http://schemas.microsoft.com/office/drawing/2014/main" id="{28901B79-A69B-4F73-BB67-00EB19B445EB}"/>
                </a:ext>
              </a:extLst>
            </p:cNvPr>
            <p:cNvGrpSpPr/>
            <p:nvPr/>
          </p:nvGrpSpPr>
          <p:grpSpPr>
            <a:xfrm>
              <a:off x="7183333" y="2328608"/>
              <a:ext cx="301775" cy="275877"/>
              <a:chOff x="3865000" y="847675"/>
              <a:chExt cx="483150" cy="452925"/>
            </a:xfrm>
          </p:grpSpPr>
          <p:sp>
            <p:nvSpPr>
              <p:cNvPr id="16" name="Google Shape;328;p19">
                <a:extLst>
                  <a:ext uri="{FF2B5EF4-FFF2-40B4-BE49-F238E27FC236}">
                    <a16:creationId xmlns:a16="http://schemas.microsoft.com/office/drawing/2014/main" id="{6115631F-FA33-463A-8ADE-18DF8B717699}"/>
                  </a:ext>
                </a:extLst>
              </p:cNvPr>
              <p:cNvSpPr/>
              <p:nvPr/>
            </p:nvSpPr>
            <p:spPr>
              <a:xfrm>
                <a:off x="3865000" y="847675"/>
                <a:ext cx="483150" cy="452925"/>
              </a:xfrm>
              <a:custGeom>
                <a:avLst/>
                <a:gdLst/>
                <a:ahLst/>
                <a:cxnLst/>
                <a:rect l="l" t="t" r="r" b="b"/>
                <a:pathLst>
                  <a:path w="19326" h="18117" extrusionOk="0">
                    <a:moveTo>
                      <a:pt x="9627" y="1132"/>
                    </a:moveTo>
                    <a:cubicBezTo>
                      <a:pt x="14349" y="1132"/>
                      <a:pt x="18193" y="4436"/>
                      <a:pt x="18193" y="8494"/>
                    </a:cubicBezTo>
                    <a:cubicBezTo>
                      <a:pt x="18193" y="12552"/>
                      <a:pt x="14349" y="15852"/>
                      <a:pt x="9627" y="15852"/>
                    </a:cubicBezTo>
                    <a:cubicBezTo>
                      <a:pt x="9619" y="15852"/>
                      <a:pt x="9611" y="15852"/>
                      <a:pt x="9603" y="15852"/>
                    </a:cubicBezTo>
                    <a:cubicBezTo>
                      <a:pt x="8397" y="15852"/>
                      <a:pt x="7207" y="15626"/>
                      <a:pt x="6088" y="15185"/>
                    </a:cubicBezTo>
                    <a:cubicBezTo>
                      <a:pt x="6019" y="15158"/>
                      <a:pt x="5947" y="15144"/>
                      <a:pt x="5876" y="15144"/>
                    </a:cubicBezTo>
                    <a:cubicBezTo>
                      <a:pt x="5720" y="15144"/>
                      <a:pt x="5568" y="15208"/>
                      <a:pt x="5460" y="15327"/>
                    </a:cubicBezTo>
                    <a:cubicBezTo>
                      <a:pt x="4780" y="16070"/>
                      <a:pt x="3896" y="16595"/>
                      <a:pt x="2917" y="16837"/>
                    </a:cubicBezTo>
                    <a:cubicBezTo>
                      <a:pt x="3461" y="15801"/>
                      <a:pt x="3582" y="14593"/>
                      <a:pt x="3262" y="13467"/>
                    </a:cubicBezTo>
                    <a:cubicBezTo>
                      <a:pt x="3238" y="13379"/>
                      <a:pt x="3189" y="13295"/>
                      <a:pt x="3126" y="13228"/>
                    </a:cubicBezTo>
                    <a:cubicBezTo>
                      <a:pt x="1843" y="11906"/>
                      <a:pt x="1133" y="10224"/>
                      <a:pt x="1133" y="8494"/>
                    </a:cubicBezTo>
                    <a:cubicBezTo>
                      <a:pt x="1133" y="4436"/>
                      <a:pt x="4944" y="1132"/>
                      <a:pt x="9627" y="1132"/>
                    </a:cubicBezTo>
                    <a:close/>
                    <a:moveTo>
                      <a:pt x="9627" y="0"/>
                    </a:moveTo>
                    <a:cubicBezTo>
                      <a:pt x="7066" y="0"/>
                      <a:pt x="4663" y="876"/>
                      <a:pt x="2848" y="2461"/>
                    </a:cubicBezTo>
                    <a:cubicBezTo>
                      <a:pt x="1012" y="4067"/>
                      <a:pt x="1" y="6211"/>
                      <a:pt x="1" y="8494"/>
                    </a:cubicBezTo>
                    <a:cubicBezTo>
                      <a:pt x="1" y="10472"/>
                      <a:pt x="783" y="12389"/>
                      <a:pt x="2208" y="13908"/>
                    </a:cubicBezTo>
                    <a:cubicBezTo>
                      <a:pt x="2492" y="15073"/>
                      <a:pt x="2148" y="16302"/>
                      <a:pt x="1299" y="17151"/>
                    </a:cubicBezTo>
                    <a:cubicBezTo>
                      <a:pt x="943" y="17507"/>
                      <a:pt x="1193" y="18117"/>
                      <a:pt x="1701" y="18117"/>
                    </a:cubicBezTo>
                    <a:cubicBezTo>
                      <a:pt x="3313" y="18114"/>
                      <a:pt x="4862" y="17489"/>
                      <a:pt x="6024" y="16372"/>
                    </a:cubicBezTo>
                    <a:cubicBezTo>
                      <a:pt x="7173" y="16776"/>
                      <a:pt x="8380" y="16985"/>
                      <a:pt x="9600" y="16985"/>
                    </a:cubicBezTo>
                    <a:cubicBezTo>
                      <a:pt x="9609" y="16985"/>
                      <a:pt x="9618" y="16985"/>
                      <a:pt x="9627" y="16985"/>
                    </a:cubicBezTo>
                    <a:cubicBezTo>
                      <a:pt x="12184" y="16985"/>
                      <a:pt x="14606" y="16112"/>
                      <a:pt x="16439" y="14524"/>
                    </a:cubicBezTo>
                    <a:cubicBezTo>
                      <a:pt x="18302" y="12914"/>
                      <a:pt x="19325" y="10773"/>
                      <a:pt x="19325" y="8494"/>
                    </a:cubicBezTo>
                    <a:cubicBezTo>
                      <a:pt x="19325" y="6211"/>
                      <a:pt x="18302" y="4070"/>
                      <a:pt x="16439" y="2461"/>
                    </a:cubicBezTo>
                    <a:cubicBezTo>
                      <a:pt x="14606" y="873"/>
                      <a:pt x="12184" y="0"/>
                      <a:pt x="962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82259" tIns="82259" rIns="82259" bIns="82259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>
                  <a:solidFill>
                    <a:srgbClr val="435D74"/>
                  </a:solidFill>
                </a:endParaRPr>
              </a:p>
            </p:txBody>
          </p:sp>
          <p:sp>
            <p:nvSpPr>
              <p:cNvPr id="17" name="Google Shape;329;p19">
                <a:extLst>
                  <a:ext uri="{FF2B5EF4-FFF2-40B4-BE49-F238E27FC236}">
                    <a16:creationId xmlns:a16="http://schemas.microsoft.com/office/drawing/2014/main" id="{980F9A3A-198A-49ED-A6D0-19942CBBA22D}"/>
                  </a:ext>
                </a:extLst>
              </p:cNvPr>
              <p:cNvSpPr/>
              <p:nvPr/>
            </p:nvSpPr>
            <p:spPr>
              <a:xfrm>
                <a:off x="4173600" y="1029775"/>
                <a:ext cx="78450" cy="75550"/>
              </a:xfrm>
              <a:custGeom>
                <a:avLst/>
                <a:gdLst/>
                <a:ahLst/>
                <a:cxnLst/>
                <a:rect l="l" t="t" r="r" b="b"/>
                <a:pathLst>
                  <a:path w="3138" h="3022" extrusionOk="0">
                    <a:moveTo>
                      <a:pt x="1510" y="1134"/>
                    </a:moveTo>
                    <a:cubicBezTo>
                      <a:pt x="1845" y="1134"/>
                      <a:pt x="2014" y="1539"/>
                      <a:pt x="1776" y="1777"/>
                    </a:cubicBezTo>
                    <a:cubicBezTo>
                      <a:pt x="1698" y="1855"/>
                      <a:pt x="1604" y="1889"/>
                      <a:pt x="1511" y="1889"/>
                    </a:cubicBezTo>
                    <a:cubicBezTo>
                      <a:pt x="1318" y="1889"/>
                      <a:pt x="1132" y="1738"/>
                      <a:pt x="1132" y="1512"/>
                    </a:cubicBezTo>
                    <a:cubicBezTo>
                      <a:pt x="1132" y="1300"/>
                      <a:pt x="1299" y="1134"/>
                      <a:pt x="1510" y="1134"/>
                    </a:cubicBezTo>
                    <a:close/>
                    <a:moveTo>
                      <a:pt x="1509" y="1"/>
                    </a:moveTo>
                    <a:cubicBezTo>
                      <a:pt x="1314" y="1"/>
                      <a:pt x="1118" y="39"/>
                      <a:pt x="930" y="117"/>
                    </a:cubicBezTo>
                    <a:cubicBezTo>
                      <a:pt x="366" y="349"/>
                      <a:pt x="0" y="899"/>
                      <a:pt x="0" y="1512"/>
                    </a:cubicBezTo>
                    <a:cubicBezTo>
                      <a:pt x="0" y="2345"/>
                      <a:pt x="674" y="3021"/>
                      <a:pt x="1510" y="3021"/>
                    </a:cubicBezTo>
                    <a:cubicBezTo>
                      <a:pt x="2120" y="3021"/>
                      <a:pt x="2669" y="2653"/>
                      <a:pt x="2902" y="2088"/>
                    </a:cubicBezTo>
                    <a:cubicBezTo>
                      <a:pt x="3137" y="1524"/>
                      <a:pt x="3008" y="875"/>
                      <a:pt x="2576" y="443"/>
                    </a:cubicBezTo>
                    <a:cubicBezTo>
                      <a:pt x="2287" y="154"/>
                      <a:pt x="1902" y="1"/>
                      <a:pt x="1509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82259" tIns="82259" rIns="82259" bIns="82259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>
                  <a:solidFill>
                    <a:srgbClr val="435D74"/>
                  </a:solidFill>
                </a:endParaRPr>
              </a:p>
            </p:txBody>
          </p:sp>
          <p:sp>
            <p:nvSpPr>
              <p:cNvPr id="18" name="Google Shape;330;p19">
                <a:extLst>
                  <a:ext uri="{FF2B5EF4-FFF2-40B4-BE49-F238E27FC236}">
                    <a16:creationId xmlns:a16="http://schemas.microsoft.com/office/drawing/2014/main" id="{BD66A451-82FF-4CC0-95A9-27921693E0D0}"/>
                  </a:ext>
                </a:extLst>
              </p:cNvPr>
              <p:cNvSpPr/>
              <p:nvPr/>
            </p:nvSpPr>
            <p:spPr>
              <a:xfrm>
                <a:off x="4068825" y="1029775"/>
                <a:ext cx="78450" cy="75550"/>
              </a:xfrm>
              <a:custGeom>
                <a:avLst/>
                <a:gdLst/>
                <a:ahLst/>
                <a:cxnLst/>
                <a:rect l="l" t="t" r="r" b="b"/>
                <a:pathLst>
                  <a:path w="3138" h="3022" extrusionOk="0">
                    <a:moveTo>
                      <a:pt x="1510" y="1134"/>
                    </a:moveTo>
                    <a:cubicBezTo>
                      <a:pt x="1845" y="1134"/>
                      <a:pt x="2014" y="1539"/>
                      <a:pt x="1776" y="1777"/>
                    </a:cubicBezTo>
                    <a:cubicBezTo>
                      <a:pt x="1699" y="1855"/>
                      <a:pt x="1605" y="1889"/>
                      <a:pt x="1513" y="1889"/>
                    </a:cubicBezTo>
                    <a:cubicBezTo>
                      <a:pt x="1319" y="1889"/>
                      <a:pt x="1132" y="1738"/>
                      <a:pt x="1132" y="1512"/>
                    </a:cubicBezTo>
                    <a:cubicBezTo>
                      <a:pt x="1132" y="1300"/>
                      <a:pt x="1302" y="1134"/>
                      <a:pt x="1510" y="1134"/>
                    </a:cubicBezTo>
                    <a:close/>
                    <a:moveTo>
                      <a:pt x="1511" y="1"/>
                    </a:moveTo>
                    <a:cubicBezTo>
                      <a:pt x="1316" y="1"/>
                      <a:pt x="1120" y="39"/>
                      <a:pt x="933" y="117"/>
                    </a:cubicBezTo>
                    <a:cubicBezTo>
                      <a:pt x="369" y="349"/>
                      <a:pt x="0" y="899"/>
                      <a:pt x="0" y="1512"/>
                    </a:cubicBezTo>
                    <a:cubicBezTo>
                      <a:pt x="0" y="2345"/>
                      <a:pt x="677" y="3021"/>
                      <a:pt x="1510" y="3021"/>
                    </a:cubicBezTo>
                    <a:cubicBezTo>
                      <a:pt x="2120" y="3021"/>
                      <a:pt x="2672" y="2653"/>
                      <a:pt x="2905" y="2088"/>
                    </a:cubicBezTo>
                    <a:cubicBezTo>
                      <a:pt x="3137" y="1524"/>
                      <a:pt x="3011" y="875"/>
                      <a:pt x="2579" y="443"/>
                    </a:cubicBezTo>
                    <a:cubicBezTo>
                      <a:pt x="2290" y="154"/>
                      <a:pt x="1903" y="1"/>
                      <a:pt x="1511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82259" tIns="82259" rIns="82259" bIns="82259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>
                  <a:solidFill>
                    <a:srgbClr val="435D74"/>
                  </a:solidFill>
                </a:endParaRPr>
              </a:p>
            </p:txBody>
          </p:sp>
          <p:sp>
            <p:nvSpPr>
              <p:cNvPr id="19" name="Google Shape;331;p19">
                <a:extLst>
                  <a:ext uri="{FF2B5EF4-FFF2-40B4-BE49-F238E27FC236}">
                    <a16:creationId xmlns:a16="http://schemas.microsoft.com/office/drawing/2014/main" id="{5814B257-A9DA-4EE4-BA4D-965FEC2823CC}"/>
                  </a:ext>
                </a:extLst>
              </p:cNvPr>
              <p:cNvSpPr/>
              <p:nvPr/>
            </p:nvSpPr>
            <p:spPr>
              <a:xfrm>
                <a:off x="3964125" y="1029775"/>
                <a:ext cx="78450" cy="75550"/>
              </a:xfrm>
              <a:custGeom>
                <a:avLst/>
                <a:gdLst/>
                <a:ahLst/>
                <a:cxnLst/>
                <a:rect l="l" t="t" r="r" b="b"/>
                <a:pathLst>
                  <a:path w="3138" h="3022" extrusionOk="0">
                    <a:moveTo>
                      <a:pt x="1510" y="1134"/>
                    </a:moveTo>
                    <a:cubicBezTo>
                      <a:pt x="1845" y="1134"/>
                      <a:pt x="2014" y="1539"/>
                      <a:pt x="1776" y="1777"/>
                    </a:cubicBezTo>
                    <a:cubicBezTo>
                      <a:pt x="1698" y="1855"/>
                      <a:pt x="1604" y="1889"/>
                      <a:pt x="1511" y="1889"/>
                    </a:cubicBezTo>
                    <a:cubicBezTo>
                      <a:pt x="1318" y="1889"/>
                      <a:pt x="1133" y="1738"/>
                      <a:pt x="1133" y="1512"/>
                    </a:cubicBezTo>
                    <a:cubicBezTo>
                      <a:pt x="1133" y="1300"/>
                      <a:pt x="1299" y="1134"/>
                      <a:pt x="1510" y="1134"/>
                    </a:cubicBezTo>
                    <a:close/>
                    <a:moveTo>
                      <a:pt x="1509" y="1"/>
                    </a:moveTo>
                    <a:cubicBezTo>
                      <a:pt x="1314" y="1"/>
                      <a:pt x="1118" y="39"/>
                      <a:pt x="930" y="117"/>
                    </a:cubicBezTo>
                    <a:cubicBezTo>
                      <a:pt x="366" y="349"/>
                      <a:pt x="0" y="899"/>
                      <a:pt x="0" y="1512"/>
                    </a:cubicBezTo>
                    <a:cubicBezTo>
                      <a:pt x="0" y="2345"/>
                      <a:pt x="674" y="3021"/>
                      <a:pt x="1510" y="3021"/>
                    </a:cubicBezTo>
                    <a:cubicBezTo>
                      <a:pt x="2120" y="3021"/>
                      <a:pt x="2669" y="2653"/>
                      <a:pt x="2902" y="2088"/>
                    </a:cubicBezTo>
                    <a:cubicBezTo>
                      <a:pt x="3137" y="1524"/>
                      <a:pt x="3008" y="875"/>
                      <a:pt x="2576" y="443"/>
                    </a:cubicBezTo>
                    <a:cubicBezTo>
                      <a:pt x="2287" y="154"/>
                      <a:pt x="1902" y="1"/>
                      <a:pt x="1509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82259" tIns="82259" rIns="82259" bIns="82259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>
                  <a:solidFill>
                    <a:srgbClr val="435D74"/>
                  </a:solidFill>
                </a:endParaRPr>
              </a:p>
            </p:txBody>
          </p:sp>
        </p:grpSp>
        <p:sp>
          <p:nvSpPr>
            <p:cNvPr id="20" name="Google Shape;332;p19">
              <a:extLst>
                <a:ext uri="{FF2B5EF4-FFF2-40B4-BE49-F238E27FC236}">
                  <a16:creationId xmlns:a16="http://schemas.microsoft.com/office/drawing/2014/main" id="{EE83CE1A-F34D-4E02-9EF9-B264C463D8DC}"/>
                </a:ext>
              </a:extLst>
            </p:cNvPr>
            <p:cNvSpPr/>
            <p:nvPr/>
          </p:nvSpPr>
          <p:spPr>
            <a:xfrm>
              <a:off x="4536050" y="2714398"/>
              <a:ext cx="301760" cy="251443"/>
            </a:xfrm>
            <a:custGeom>
              <a:avLst/>
              <a:gdLst/>
              <a:ahLst/>
              <a:cxnLst/>
              <a:rect l="l" t="t" r="r" b="b"/>
              <a:pathLst>
                <a:path w="19412" h="16526" extrusionOk="0">
                  <a:moveTo>
                    <a:pt x="8421" y="4128"/>
                  </a:moveTo>
                  <a:lnTo>
                    <a:pt x="8421" y="6791"/>
                  </a:lnTo>
                  <a:lnTo>
                    <a:pt x="5302" y="6791"/>
                  </a:lnTo>
                  <a:lnTo>
                    <a:pt x="4511" y="4128"/>
                  </a:lnTo>
                  <a:close/>
                  <a:moveTo>
                    <a:pt x="12661" y="4131"/>
                  </a:moveTo>
                  <a:lnTo>
                    <a:pt x="12661" y="6791"/>
                  </a:lnTo>
                  <a:lnTo>
                    <a:pt x="9554" y="6791"/>
                  </a:lnTo>
                  <a:lnTo>
                    <a:pt x="9554" y="4131"/>
                  </a:lnTo>
                  <a:close/>
                  <a:moveTo>
                    <a:pt x="17999" y="4131"/>
                  </a:moveTo>
                  <a:lnTo>
                    <a:pt x="17208" y="6791"/>
                  </a:lnTo>
                  <a:lnTo>
                    <a:pt x="13793" y="6791"/>
                  </a:lnTo>
                  <a:lnTo>
                    <a:pt x="13793" y="4131"/>
                  </a:lnTo>
                  <a:close/>
                  <a:moveTo>
                    <a:pt x="8421" y="7923"/>
                  </a:moveTo>
                  <a:lnTo>
                    <a:pt x="8421" y="10583"/>
                  </a:lnTo>
                  <a:lnTo>
                    <a:pt x="6432" y="10583"/>
                  </a:lnTo>
                  <a:lnTo>
                    <a:pt x="5640" y="7923"/>
                  </a:lnTo>
                  <a:close/>
                  <a:moveTo>
                    <a:pt x="12661" y="7923"/>
                  </a:moveTo>
                  <a:lnTo>
                    <a:pt x="12661" y="10583"/>
                  </a:lnTo>
                  <a:lnTo>
                    <a:pt x="9554" y="10583"/>
                  </a:lnTo>
                  <a:lnTo>
                    <a:pt x="9554" y="7923"/>
                  </a:lnTo>
                  <a:close/>
                  <a:moveTo>
                    <a:pt x="16873" y="7923"/>
                  </a:moveTo>
                  <a:lnTo>
                    <a:pt x="16076" y="10583"/>
                  </a:lnTo>
                  <a:lnTo>
                    <a:pt x="13793" y="10583"/>
                  </a:lnTo>
                  <a:lnTo>
                    <a:pt x="13793" y="7923"/>
                  </a:lnTo>
                  <a:close/>
                  <a:moveTo>
                    <a:pt x="7935" y="13570"/>
                  </a:moveTo>
                  <a:cubicBezTo>
                    <a:pt x="8744" y="13570"/>
                    <a:pt x="9152" y="14551"/>
                    <a:pt x="8578" y="15125"/>
                  </a:cubicBezTo>
                  <a:cubicBezTo>
                    <a:pt x="8393" y="15310"/>
                    <a:pt x="8165" y="15393"/>
                    <a:pt x="7941" y="15393"/>
                  </a:cubicBezTo>
                  <a:cubicBezTo>
                    <a:pt x="7473" y="15393"/>
                    <a:pt x="7023" y="15029"/>
                    <a:pt x="7023" y="14482"/>
                  </a:cubicBezTo>
                  <a:cubicBezTo>
                    <a:pt x="7023" y="13977"/>
                    <a:pt x="7431" y="13573"/>
                    <a:pt x="7932" y="13570"/>
                  </a:cubicBezTo>
                  <a:close/>
                  <a:moveTo>
                    <a:pt x="14910" y="13570"/>
                  </a:moveTo>
                  <a:cubicBezTo>
                    <a:pt x="15719" y="13570"/>
                    <a:pt x="16127" y="14551"/>
                    <a:pt x="15553" y="15125"/>
                  </a:cubicBezTo>
                  <a:cubicBezTo>
                    <a:pt x="15368" y="15310"/>
                    <a:pt x="15140" y="15393"/>
                    <a:pt x="14916" y="15393"/>
                  </a:cubicBezTo>
                  <a:cubicBezTo>
                    <a:pt x="14448" y="15393"/>
                    <a:pt x="13998" y="15029"/>
                    <a:pt x="13998" y="14482"/>
                  </a:cubicBezTo>
                  <a:cubicBezTo>
                    <a:pt x="13998" y="13977"/>
                    <a:pt x="14406" y="13570"/>
                    <a:pt x="14910" y="13570"/>
                  </a:cubicBezTo>
                  <a:close/>
                  <a:moveTo>
                    <a:pt x="568" y="0"/>
                  </a:moveTo>
                  <a:cubicBezTo>
                    <a:pt x="254" y="0"/>
                    <a:pt x="0" y="254"/>
                    <a:pt x="0" y="565"/>
                  </a:cubicBezTo>
                  <a:cubicBezTo>
                    <a:pt x="0" y="879"/>
                    <a:pt x="254" y="1133"/>
                    <a:pt x="568" y="1133"/>
                  </a:cubicBezTo>
                  <a:lnTo>
                    <a:pt x="2437" y="1133"/>
                  </a:lnTo>
                  <a:lnTo>
                    <a:pt x="3204" y="3714"/>
                  </a:lnTo>
                  <a:cubicBezTo>
                    <a:pt x="3207" y="3720"/>
                    <a:pt x="3210" y="3729"/>
                    <a:pt x="3213" y="3738"/>
                  </a:cubicBezTo>
                  <a:lnTo>
                    <a:pt x="5251" y="10589"/>
                  </a:lnTo>
                  <a:cubicBezTo>
                    <a:pt x="4052" y="10671"/>
                    <a:pt x="3131" y="11685"/>
                    <a:pt x="3171" y="12887"/>
                  </a:cubicBezTo>
                  <a:cubicBezTo>
                    <a:pt x="3210" y="14089"/>
                    <a:pt x="4194" y="15043"/>
                    <a:pt x="5396" y="15046"/>
                  </a:cubicBezTo>
                  <a:lnTo>
                    <a:pt x="5970" y="15046"/>
                  </a:lnTo>
                  <a:cubicBezTo>
                    <a:pt x="6220" y="15922"/>
                    <a:pt x="7020" y="16526"/>
                    <a:pt x="7932" y="16526"/>
                  </a:cubicBezTo>
                  <a:cubicBezTo>
                    <a:pt x="8841" y="16526"/>
                    <a:pt x="9641" y="15922"/>
                    <a:pt x="9895" y="15046"/>
                  </a:cubicBezTo>
                  <a:lnTo>
                    <a:pt x="12947" y="15046"/>
                  </a:lnTo>
                  <a:cubicBezTo>
                    <a:pt x="13198" y="15922"/>
                    <a:pt x="13998" y="16523"/>
                    <a:pt x="14910" y="16523"/>
                  </a:cubicBezTo>
                  <a:cubicBezTo>
                    <a:pt x="15819" y="16523"/>
                    <a:pt x="16619" y="15922"/>
                    <a:pt x="16873" y="15046"/>
                  </a:cubicBezTo>
                  <a:lnTo>
                    <a:pt x="17616" y="15046"/>
                  </a:lnTo>
                  <a:cubicBezTo>
                    <a:pt x="17927" y="15046"/>
                    <a:pt x="18180" y="14793"/>
                    <a:pt x="18180" y="14482"/>
                  </a:cubicBezTo>
                  <a:cubicBezTo>
                    <a:pt x="18180" y="14167"/>
                    <a:pt x="17927" y="13914"/>
                    <a:pt x="17616" y="13914"/>
                  </a:cubicBezTo>
                  <a:lnTo>
                    <a:pt x="16873" y="13914"/>
                  </a:lnTo>
                  <a:cubicBezTo>
                    <a:pt x="16619" y="13041"/>
                    <a:pt x="15819" y="12437"/>
                    <a:pt x="14910" y="12437"/>
                  </a:cubicBezTo>
                  <a:cubicBezTo>
                    <a:pt x="13998" y="12437"/>
                    <a:pt x="13198" y="13041"/>
                    <a:pt x="12947" y="13914"/>
                  </a:cubicBezTo>
                  <a:lnTo>
                    <a:pt x="9895" y="13914"/>
                  </a:lnTo>
                  <a:cubicBezTo>
                    <a:pt x="9644" y="13038"/>
                    <a:pt x="8844" y="12437"/>
                    <a:pt x="7932" y="12437"/>
                  </a:cubicBezTo>
                  <a:cubicBezTo>
                    <a:pt x="7023" y="12437"/>
                    <a:pt x="6223" y="13038"/>
                    <a:pt x="5970" y="13914"/>
                  </a:cubicBezTo>
                  <a:lnTo>
                    <a:pt x="5399" y="13914"/>
                  </a:lnTo>
                  <a:cubicBezTo>
                    <a:pt x="4798" y="13905"/>
                    <a:pt x="4318" y="13416"/>
                    <a:pt x="4318" y="12815"/>
                  </a:cubicBezTo>
                  <a:cubicBezTo>
                    <a:pt x="4318" y="12217"/>
                    <a:pt x="4798" y="11728"/>
                    <a:pt x="5399" y="11716"/>
                  </a:cubicBezTo>
                  <a:lnTo>
                    <a:pt x="16501" y="11716"/>
                  </a:lnTo>
                  <a:cubicBezTo>
                    <a:pt x="16752" y="11716"/>
                    <a:pt x="16972" y="11553"/>
                    <a:pt x="17045" y="11311"/>
                  </a:cubicBezTo>
                  <a:lnTo>
                    <a:pt x="19303" y="3726"/>
                  </a:lnTo>
                  <a:cubicBezTo>
                    <a:pt x="19412" y="3362"/>
                    <a:pt x="19140" y="2999"/>
                    <a:pt x="18765" y="2999"/>
                  </a:cubicBezTo>
                  <a:cubicBezTo>
                    <a:pt x="18763" y="2999"/>
                    <a:pt x="18761" y="2999"/>
                    <a:pt x="18760" y="2999"/>
                  </a:cubicBezTo>
                  <a:lnTo>
                    <a:pt x="4173" y="2999"/>
                  </a:lnTo>
                  <a:lnTo>
                    <a:pt x="3400" y="405"/>
                  </a:lnTo>
                  <a:cubicBezTo>
                    <a:pt x="3328" y="163"/>
                    <a:pt x="3107" y="0"/>
                    <a:pt x="285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82259" tIns="82259" rIns="82259" bIns="82259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>
                <a:solidFill>
                  <a:srgbClr val="435D74"/>
                </a:solidFill>
              </a:endParaRPr>
            </a:p>
          </p:txBody>
        </p:sp>
        <p:grpSp>
          <p:nvGrpSpPr>
            <p:cNvPr id="21" name="Google Shape;333;p19">
              <a:extLst>
                <a:ext uri="{FF2B5EF4-FFF2-40B4-BE49-F238E27FC236}">
                  <a16:creationId xmlns:a16="http://schemas.microsoft.com/office/drawing/2014/main" id="{A34199CB-4250-428D-ADF2-D6145F585B6C}"/>
                </a:ext>
              </a:extLst>
            </p:cNvPr>
            <p:cNvGrpSpPr/>
            <p:nvPr/>
          </p:nvGrpSpPr>
          <p:grpSpPr>
            <a:xfrm>
              <a:off x="3674629" y="2014352"/>
              <a:ext cx="301767" cy="301737"/>
              <a:chOff x="-61354075" y="1940500"/>
              <a:chExt cx="314275" cy="312325"/>
            </a:xfrm>
          </p:grpSpPr>
          <p:sp>
            <p:nvSpPr>
              <p:cNvPr id="22" name="Google Shape;334;p19">
                <a:extLst>
                  <a:ext uri="{FF2B5EF4-FFF2-40B4-BE49-F238E27FC236}">
                    <a16:creationId xmlns:a16="http://schemas.microsoft.com/office/drawing/2014/main" id="{CAA23B17-B0C5-47C9-943D-5AECF3A34933}"/>
                  </a:ext>
                </a:extLst>
              </p:cNvPr>
              <p:cNvSpPr/>
              <p:nvPr/>
            </p:nvSpPr>
            <p:spPr>
              <a:xfrm>
                <a:off x="-61354075" y="1940500"/>
                <a:ext cx="314275" cy="312325"/>
              </a:xfrm>
              <a:custGeom>
                <a:avLst/>
                <a:gdLst/>
                <a:ahLst/>
                <a:cxnLst/>
                <a:rect l="l" t="t" r="r" b="b"/>
                <a:pathLst>
                  <a:path w="12571" h="12493" extrusionOk="0">
                    <a:moveTo>
                      <a:pt x="6270" y="1001"/>
                    </a:moveTo>
                    <a:lnTo>
                      <a:pt x="7687" y="2419"/>
                    </a:lnTo>
                    <a:cubicBezTo>
                      <a:pt x="7750" y="2482"/>
                      <a:pt x="7876" y="2513"/>
                      <a:pt x="7971" y="2513"/>
                    </a:cubicBezTo>
                    <a:lnTo>
                      <a:pt x="9956" y="2513"/>
                    </a:lnTo>
                    <a:lnTo>
                      <a:pt x="9956" y="4529"/>
                    </a:lnTo>
                    <a:cubicBezTo>
                      <a:pt x="9956" y="4655"/>
                      <a:pt x="10019" y="4718"/>
                      <a:pt x="10082" y="4813"/>
                    </a:cubicBezTo>
                    <a:lnTo>
                      <a:pt x="11499" y="6231"/>
                    </a:lnTo>
                    <a:lnTo>
                      <a:pt x="10082" y="7648"/>
                    </a:lnTo>
                    <a:cubicBezTo>
                      <a:pt x="10019" y="7711"/>
                      <a:pt x="9956" y="7837"/>
                      <a:pt x="9956" y="7900"/>
                    </a:cubicBezTo>
                    <a:lnTo>
                      <a:pt x="9956" y="9917"/>
                    </a:lnTo>
                    <a:lnTo>
                      <a:pt x="7971" y="9917"/>
                    </a:lnTo>
                    <a:cubicBezTo>
                      <a:pt x="7845" y="9917"/>
                      <a:pt x="7750" y="9948"/>
                      <a:pt x="7687" y="10043"/>
                    </a:cubicBezTo>
                    <a:lnTo>
                      <a:pt x="6270" y="11460"/>
                    </a:lnTo>
                    <a:lnTo>
                      <a:pt x="4852" y="10043"/>
                    </a:lnTo>
                    <a:cubicBezTo>
                      <a:pt x="4757" y="9948"/>
                      <a:pt x="4631" y="9917"/>
                      <a:pt x="4568" y="9917"/>
                    </a:cubicBezTo>
                    <a:lnTo>
                      <a:pt x="2552" y="9917"/>
                    </a:lnTo>
                    <a:lnTo>
                      <a:pt x="2552" y="7900"/>
                    </a:lnTo>
                    <a:cubicBezTo>
                      <a:pt x="2552" y="7806"/>
                      <a:pt x="2521" y="7711"/>
                      <a:pt x="2426" y="7648"/>
                    </a:cubicBezTo>
                    <a:lnTo>
                      <a:pt x="1008" y="6231"/>
                    </a:lnTo>
                    <a:lnTo>
                      <a:pt x="2426" y="4813"/>
                    </a:lnTo>
                    <a:cubicBezTo>
                      <a:pt x="2521" y="4718"/>
                      <a:pt x="2552" y="4624"/>
                      <a:pt x="2552" y="4529"/>
                    </a:cubicBezTo>
                    <a:lnTo>
                      <a:pt x="2552" y="2513"/>
                    </a:lnTo>
                    <a:lnTo>
                      <a:pt x="4568" y="2513"/>
                    </a:lnTo>
                    <a:cubicBezTo>
                      <a:pt x="4694" y="2513"/>
                      <a:pt x="4757" y="2482"/>
                      <a:pt x="4852" y="2419"/>
                    </a:cubicBezTo>
                    <a:lnTo>
                      <a:pt x="6270" y="1001"/>
                    </a:lnTo>
                    <a:close/>
                    <a:moveTo>
                      <a:pt x="6285" y="1"/>
                    </a:moveTo>
                    <a:cubicBezTo>
                      <a:pt x="6175" y="1"/>
                      <a:pt x="6065" y="40"/>
                      <a:pt x="5986" y="119"/>
                    </a:cubicBezTo>
                    <a:lnTo>
                      <a:pt x="4411" y="1694"/>
                    </a:lnTo>
                    <a:lnTo>
                      <a:pt x="2174" y="1694"/>
                    </a:lnTo>
                    <a:cubicBezTo>
                      <a:pt x="1922" y="1694"/>
                      <a:pt x="1733" y="1883"/>
                      <a:pt x="1733" y="2135"/>
                    </a:cubicBezTo>
                    <a:lnTo>
                      <a:pt x="1733" y="4372"/>
                    </a:lnTo>
                    <a:lnTo>
                      <a:pt x="158" y="5947"/>
                    </a:lnTo>
                    <a:cubicBezTo>
                      <a:pt x="0" y="6105"/>
                      <a:pt x="0" y="6388"/>
                      <a:pt x="158" y="6546"/>
                    </a:cubicBezTo>
                    <a:lnTo>
                      <a:pt x="1733" y="8121"/>
                    </a:lnTo>
                    <a:lnTo>
                      <a:pt x="1733" y="10358"/>
                    </a:lnTo>
                    <a:cubicBezTo>
                      <a:pt x="1733" y="10578"/>
                      <a:pt x="1922" y="10736"/>
                      <a:pt x="2174" y="10736"/>
                    </a:cubicBezTo>
                    <a:lnTo>
                      <a:pt x="4411" y="10736"/>
                    </a:lnTo>
                    <a:lnTo>
                      <a:pt x="5986" y="12374"/>
                    </a:lnTo>
                    <a:cubicBezTo>
                      <a:pt x="6065" y="12453"/>
                      <a:pt x="6175" y="12492"/>
                      <a:pt x="6285" y="12492"/>
                    </a:cubicBezTo>
                    <a:cubicBezTo>
                      <a:pt x="6396" y="12492"/>
                      <a:pt x="6506" y="12453"/>
                      <a:pt x="6585" y="12374"/>
                    </a:cubicBezTo>
                    <a:lnTo>
                      <a:pt x="8160" y="10736"/>
                    </a:lnTo>
                    <a:lnTo>
                      <a:pt x="10397" y="10736"/>
                    </a:lnTo>
                    <a:cubicBezTo>
                      <a:pt x="10617" y="10736"/>
                      <a:pt x="10775" y="10547"/>
                      <a:pt x="10775" y="10358"/>
                    </a:cubicBezTo>
                    <a:lnTo>
                      <a:pt x="10775" y="8121"/>
                    </a:lnTo>
                    <a:lnTo>
                      <a:pt x="12413" y="6546"/>
                    </a:lnTo>
                    <a:cubicBezTo>
                      <a:pt x="12571" y="6388"/>
                      <a:pt x="12571" y="6105"/>
                      <a:pt x="12413" y="5947"/>
                    </a:cubicBezTo>
                    <a:lnTo>
                      <a:pt x="10775" y="4372"/>
                    </a:lnTo>
                    <a:lnTo>
                      <a:pt x="10775" y="2135"/>
                    </a:lnTo>
                    <a:cubicBezTo>
                      <a:pt x="10775" y="1883"/>
                      <a:pt x="10586" y="1694"/>
                      <a:pt x="10397" y="1694"/>
                    </a:cubicBezTo>
                    <a:lnTo>
                      <a:pt x="8160" y="1694"/>
                    </a:lnTo>
                    <a:lnTo>
                      <a:pt x="6585" y="119"/>
                    </a:lnTo>
                    <a:cubicBezTo>
                      <a:pt x="6506" y="40"/>
                      <a:pt x="6396" y="1"/>
                      <a:pt x="6285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82259" tIns="82259" rIns="82259" bIns="82259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/>
              </a:p>
            </p:txBody>
          </p:sp>
          <p:sp>
            <p:nvSpPr>
              <p:cNvPr id="23" name="Google Shape;335;p19">
                <a:extLst>
                  <a:ext uri="{FF2B5EF4-FFF2-40B4-BE49-F238E27FC236}">
                    <a16:creationId xmlns:a16="http://schemas.microsoft.com/office/drawing/2014/main" id="{82E2B35C-06A7-4E2A-BBE4-2B44975D3B45}"/>
                  </a:ext>
                </a:extLst>
              </p:cNvPr>
              <p:cNvSpPr/>
              <p:nvPr/>
            </p:nvSpPr>
            <p:spPr>
              <a:xfrm>
                <a:off x="-61268225" y="2024575"/>
                <a:ext cx="60650" cy="61475"/>
              </a:xfrm>
              <a:custGeom>
                <a:avLst/>
                <a:gdLst/>
                <a:ahLst/>
                <a:cxnLst/>
                <a:rect l="l" t="t" r="r" b="b"/>
                <a:pathLst>
                  <a:path w="2426" h="2459" extrusionOk="0">
                    <a:moveTo>
                      <a:pt x="1197" y="820"/>
                    </a:moveTo>
                    <a:cubicBezTo>
                      <a:pt x="1449" y="820"/>
                      <a:pt x="1607" y="1009"/>
                      <a:pt x="1607" y="1261"/>
                    </a:cubicBezTo>
                    <a:cubicBezTo>
                      <a:pt x="1607" y="1481"/>
                      <a:pt x="1418" y="1639"/>
                      <a:pt x="1197" y="1639"/>
                    </a:cubicBezTo>
                    <a:cubicBezTo>
                      <a:pt x="1008" y="1639"/>
                      <a:pt x="819" y="1450"/>
                      <a:pt x="819" y="1261"/>
                    </a:cubicBezTo>
                    <a:cubicBezTo>
                      <a:pt x="788" y="977"/>
                      <a:pt x="977" y="820"/>
                      <a:pt x="1197" y="820"/>
                    </a:cubicBezTo>
                    <a:close/>
                    <a:moveTo>
                      <a:pt x="1197" y="1"/>
                    </a:moveTo>
                    <a:cubicBezTo>
                      <a:pt x="536" y="1"/>
                      <a:pt x="0" y="536"/>
                      <a:pt x="0" y="1261"/>
                    </a:cubicBezTo>
                    <a:cubicBezTo>
                      <a:pt x="0" y="1954"/>
                      <a:pt x="504" y="2458"/>
                      <a:pt x="1197" y="2458"/>
                    </a:cubicBezTo>
                    <a:cubicBezTo>
                      <a:pt x="1890" y="2458"/>
                      <a:pt x="2426" y="1922"/>
                      <a:pt x="2426" y="1261"/>
                    </a:cubicBezTo>
                    <a:cubicBezTo>
                      <a:pt x="2426" y="568"/>
                      <a:pt x="1890" y="1"/>
                      <a:pt x="119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82259" tIns="82259" rIns="82259" bIns="82259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/>
              </a:p>
            </p:txBody>
          </p:sp>
          <p:sp>
            <p:nvSpPr>
              <p:cNvPr id="24" name="Google Shape;336;p19">
                <a:extLst>
                  <a:ext uri="{FF2B5EF4-FFF2-40B4-BE49-F238E27FC236}">
                    <a16:creationId xmlns:a16="http://schemas.microsoft.com/office/drawing/2014/main" id="{A6AB575D-5DC8-4410-85C3-2409D96B22D1}"/>
                  </a:ext>
                </a:extLst>
              </p:cNvPr>
              <p:cNvSpPr/>
              <p:nvPr/>
            </p:nvSpPr>
            <p:spPr>
              <a:xfrm>
                <a:off x="-61187100" y="2107275"/>
                <a:ext cx="61450" cy="61475"/>
              </a:xfrm>
              <a:custGeom>
                <a:avLst/>
                <a:gdLst/>
                <a:ahLst/>
                <a:cxnLst/>
                <a:rect l="l" t="t" r="r" b="b"/>
                <a:pathLst>
                  <a:path w="2458" h="2459" extrusionOk="0">
                    <a:moveTo>
                      <a:pt x="1229" y="788"/>
                    </a:moveTo>
                    <a:cubicBezTo>
                      <a:pt x="1512" y="820"/>
                      <a:pt x="1670" y="977"/>
                      <a:pt x="1670" y="1198"/>
                    </a:cubicBezTo>
                    <a:cubicBezTo>
                      <a:pt x="1670" y="1450"/>
                      <a:pt x="1481" y="1639"/>
                      <a:pt x="1229" y="1639"/>
                    </a:cubicBezTo>
                    <a:cubicBezTo>
                      <a:pt x="1008" y="1639"/>
                      <a:pt x="851" y="1450"/>
                      <a:pt x="851" y="1198"/>
                    </a:cubicBezTo>
                    <a:cubicBezTo>
                      <a:pt x="851" y="977"/>
                      <a:pt x="1040" y="788"/>
                      <a:pt x="1229" y="788"/>
                    </a:cubicBezTo>
                    <a:close/>
                    <a:moveTo>
                      <a:pt x="1229" y="1"/>
                    </a:moveTo>
                    <a:cubicBezTo>
                      <a:pt x="567" y="1"/>
                      <a:pt x="0" y="536"/>
                      <a:pt x="0" y="1198"/>
                    </a:cubicBezTo>
                    <a:cubicBezTo>
                      <a:pt x="0" y="1891"/>
                      <a:pt x="567" y="2458"/>
                      <a:pt x="1229" y="2458"/>
                    </a:cubicBezTo>
                    <a:cubicBezTo>
                      <a:pt x="1922" y="2458"/>
                      <a:pt x="2458" y="1922"/>
                      <a:pt x="2458" y="1198"/>
                    </a:cubicBezTo>
                    <a:cubicBezTo>
                      <a:pt x="2458" y="536"/>
                      <a:pt x="1922" y="1"/>
                      <a:pt x="1229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82259" tIns="82259" rIns="82259" bIns="82259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/>
              </a:p>
            </p:txBody>
          </p:sp>
          <p:sp>
            <p:nvSpPr>
              <p:cNvPr id="25" name="Google Shape;337;p19">
                <a:extLst>
                  <a:ext uri="{FF2B5EF4-FFF2-40B4-BE49-F238E27FC236}">
                    <a16:creationId xmlns:a16="http://schemas.microsoft.com/office/drawing/2014/main" id="{78693572-3723-436C-9C83-8D5DBACD0E2D}"/>
                  </a:ext>
                </a:extLst>
              </p:cNvPr>
              <p:cNvSpPr/>
              <p:nvPr/>
            </p:nvSpPr>
            <p:spPr>
              <a:xfrm>
                <a:off x="-61250125" y="2044475"/>
                <a:ext cx="105575" cy="103600"/>
              </a:xfrm>
              <a:custGeom>
                <a:avLst/>
                <a:gdLst/>
                <a:ahLst/>
                <a:cxnLst/>
                <a:rect l="l" t="t" r="r" b="b"/>
                <a:pathLst>
                  <a:path w="4223" h="4144" extrusionOk="0">
                    <a:moveTo>
                      <a:pt x="3766" y="0"/>
                    </a:moveTo>
                    <a:cubicBezTo>
                      <a:pt x="3655" y="0"/>
                      <a:pt x="3545" y="40"/>
                      <a:pt x="3466" y="118"/>
                    </a:cubicBezTo>
                    <a:lnTo>
                      <a:pt x="158" y="3426"/>
                    </a:lnTo>
                    <a:cubicBezTo>
                      <a:pt x="1" y="3615"/>
                      <a:pt x="1" y="3836"/>
                      <a:pt x="158" y="4025"/>
                    </a:cubicBezTo>
                    <a:cubicBezTo>
                      <a:pt x="237" y="4104"/>
                      <a:pt x="347" y="4143"/>
                      <a:pt x="458" y="4143"/>
                    </a:cubicBezTo>
                    <a:cubicBezTo>
                      <a:pt x="568" y="4143"/>
                      <a:pt x="678" y="4104"/>
                      <a:pt x="757" y="4025"/>
                    </a:cubicBezTo>
                    <a:lnTo>
                      <a:pt x="4065" y="717"/>
                    </a:lnTo>
                    <a:cubicBezTo>
                      <a:pt x="4222" y="559"/>
                      <a:pt x="4222" y="276"/>
                      <a:pt x="4065" y="118"/>
                    </a:cubicBezTo>
                    <a:cubicBezTo>
                      <a:pt x="3986" y="40"/>
                      <a:pt x="3876" y="0"/>
                      <a:pt x="376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82259" tIns="82259" rIns="82259" bIns="82259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/>
              </a:p>
            </p:txBody>
          </p:sp>
        </p:grpSp>
        <p:grpSp>
          <p:nvGrpSpPr>
            <p:cNvPr id="26" name="Google Shape;338;p19">
              <a:extLst>
                <a:ext uri="{FF2B5EF4-FFF2-40B4-BE49-F238E27FC236}">
                  <a16:creationId xmlns:a16="http://schemas.microsoft.com/office/drawing/2014/main" id="{F9D526A2-824D-4583-BCA0-4113A2053CB4}"/>
                </a:ext>
              </a:extLst>
            </p:cNvPr>
            <p:cNvGrpSpPr/>
            <p:nvPr/>
          </p:nvGrpSpPr>
          <p:grpSpPr>
            <a:xfrm>
              <a:off x="5650968" y="1734594"/>
              <a:ext cx="269125" cy="301728"/>
              <a:chOff x="5733820" y="1627281"/>
              <a:chExt cx="269125" cy="301728"/>
            </a:xfrm>
          </p:grpSpPr>
          <p:sp>
            <p:nvSpPr>
              <p:cNvPr id="27" name="Google Shape;339;p19">
                <a:extLst>
                  <a:ext uri="{FF2B5EF4-FFF2-40B4-BE49-F238E27FC236}">
                    <a16:creationId xmlns:a16="http://schemas.microsoft.com/office/drawing/2014/main" id="{343B60F1-930E-418B-A93C-A420CCAB1840}"/>
                  </a:ext>
                </a:extLst>
              </p:cNvPr>
              <p:cNvSpPr/>
              <p:nvPr/>
            </p:nvSpPr>
            <p:spPr>
              <a:xfrm>
                <a:off x="5733820" y="1680419"/>
                <a:ext cx="269125" cy="248591"/>
              </a:xfrm>
              <a:custGeom>
                <a:avLst/>
                <a:gdLst/>
                <a:ahLst/>
                <a:cxnLst/>
                <a:rect l="l" t="t" r="r" b="b"/>
                <a:pathLst>
                  <a:path w="17109" h="15892" extrusionOk="0">
                    <a:moveTo>
                      <a:pt x="3397" y="6794"/>
                    </a:moveTo>
                    <a:lnTo>
                      <a:pt x="3397" y="14759"/>
                    </a:lnTo>
                    <a:lnTo>
                      <a:pt x="1132" y="14759"/>
                    </a:lnTo>
                    <a:lnTo>
                      <a:pt x="1132" y="6794"/>
                    </a:lnTo>
                    <a:close/>
                    <a:moveTo>
                      <a:pt x="9034" y="1132"/>
                    </a:moveTo>
                    <a:cubicBezTo>
                      <a:pt x="9683" y="1175"/>
                      <a:pt x="10191" y="1712"/>
                      <a:pt x="10191" y="2364"/>
                    </a:cubicBezTo>
                    <a:cubicBezTo>
                      <a:pt x="10191" y="3346"/>
                      <a:pt x="9774" y="5275"/>
                      <a:pt x="9221" y="5828"/>
                    </a:cubicBezTo>
                    <a:cubicBezTo>
                      <a:pt x="8865" y="6184"/>
                      <a:pt x="9119" y="6794"/>
                      <a:pt x="9623" y="6794"/>
                    </a:cubicBezTo>
                    <a:lnTo>
                      <a:pt x="15285" y="6794"/>
                    </a:lnTo>
                    <a:cubicBezTo>
                      <a:pt x="15599" y="6794"/>
                      <a:pt x="15849" y="7047"/>
                      <a:pt x="15849" y="7361"/>
                    </a:cubicBezTo>
                    <a:cubicBezTo>
                      <a:pt x="15849" y="7672"/>
                      <a:pt x="15599" y="7926"/>
                      <a:pt x="15285" y="7926"/>
                    </a:cubicBezTo>
                    <a:lnTo>
                      <a:pt x="11888" y="7926"/>
                    </a:lnTo>
                    <a:cubicBezTo>
                      <a:pt x="11574" y="7926"/>
                      <a:pt x="11323" y="8180"/>
                      <a:pt x="11323" y="8494"/>
                    </a:cubicBezTo>
                    <a:cubicBezTo>
                      <a:pt x="11323" y="8805"/>
                      <a:pt x="11574" y="9058"/>
                      <a:pt x="11888" y="9058"/>
                    </a:cubicBezTo>
                    <a:lnTo>
                      <a:pt x="15285" y="9058"/>
                    </a:lnTo>
                    <a:cubicBezTo>
                      <a:pt x="15586" y="9058"/>
                      <a:pt x="15852" y="9342"/>
                      <a:pt x="15852" y="9662"/>
                    </a:cubicBezTo>
                    <a:cubicBezTo>
                      <a:pt x="15852" y="9976"/>
                      <a:pt x="15599" y="10230"/>
                      <a:pt x="15285" y="10230"/>
                    </a:cubicBezTo>
                    <a:lnTo>
                      <a:pt x="11888" y="10230"/>
                    </a:lnTo>
                    <a:cubicBezTo>
                      <a:pt x="11574" y="10230"/>
                      <a:pt x="11323" y="10484"/>
                      <a:pt x="11323" y="10795"/>
                    </a:cubicBezTo>
                    <a:cubicBezTo>
                      <a:pt x="11323" y="11109"/>
                      <a:pt x="11574" y="11362"/>
                      <a:pt x="11888" y="11362"/>
                    </a:cubicBezTo>
                    <a:lnTo>
                      <a:pt x="14152" y="11362"/>
                    </a:lnTo>
                    <a:cubicBezTo>
                      <a:pt x="14466" y="11362"/>
                      <a:pt x="14717" y="11616"/>
                      <a:pt x="14717" y="11927"/>
                    </a:cubicBezTo>
                    <a:cubicBezTo>
                      <a:pt x="14717" y="12241"/>
                      <a:pt x="14466" y="12494"/>
                      <a:pt x="14152" y="12494"/>
                    </a:cubicBezTo>
                    <a:lnTo>
                      <a:pt x="11888" y="12494"/>
                    </a:lnTo>
                    <a:cubicBezTo>
                      <a:pt x="11574" y="12494"/>
                      <a:pt x="11323" y="12748"/>
                      <a:pt x="11323" y="13059"/>
                    </a:cubicBezTo>
                    <a:cubicBezTo>
                      <a:pt x="11323" y="13373"/>
                      <a:pt x="11574" y="13627"/>
                      <a:pt x="11888" y="13627"/>
                    </a:cubicBezTo>
                    <a:lnTo>
                      <a:pt x="13020" y="13627"/>
                    </a:lnTo>
                    <a:cubicBezTo>
                      <a:pt x="13334" y="13627"/>
                      <a:pt x="13585" y="13880"/>
                      <a:pt x="13585" y="14191"/>
                    </a:cubicBezTo>
                    <a:cubicBezTo>
                      <a:pt x="13585" y="14505"/>
                      <a:pt x="13334" y="14759"/>
                      <a:pt x="13020" y="14759"/>
                    </a:cubicBezTo>
                    <a:lnTo>
                      <a:pt x="9197" y="14759"/>
                    </a:lnTo>
                    <a:cubicBezTo>
                      <a:pt x="8041" y="14759"/>
                      <a:pt x="6890" y="14572"/>
                      <a:pt x="5794" y="14207"/>
                    </a:cubicBezTo>
                    <a:lnTo>
                      <a:pt x="4529" y="13784"/>
                    </a:lnTo>
                    <a:lnTo>
                      <a:pt x="4529" y="7712"/>
                    </a:lnTo>
                    <a:lnTo>
                      <a:pt x="5686" y="7132"/>
                    </a:lnTo>
                    <a:cubicBezTo>
                      <a:pt x="6265" y="6842"/>
                      <a:pt x="6797" y="6459"/>
                      <a:pt x="7253" y="6003"/>
                    </a:cubicBezTo>
                    <a:lnTo>
                      <a:pt x="7289" y="5963"/>
                    </a:lnTo>
                    <a:cubicBezTo>
                      <a:pt x="8352" y="4901"/>
                      <a:pt x="8917" y="2654"/>
                      <a:pt x="9034" y="1132"/>
                    </a:cubicBezTo>
                    <a:close/>
                    <a:moveTo>
                      <a:pt x="8491" y="0"/>
                    </a:moveTo>
                    <a:cubicBezTo>
                      <a:pt x="8177" y="0"/>
                      <a:pt x="7926" y="254"/>
                      <a:pt x="7926" y="568"/>
                    </a:cubicBezTo>
                    <a:cubicBezTo>
                      <a:pt x="7926" y="1887"/>
                      <a:pt x="7380" y="4276"/>
                      <a:pt x="6492" y="5166"/>
                    </a:cubicBezTo>
                    <a:lnTo>
                      <a:pt x="6456" y="5203"/>
                    </a:lnTo>
                    <a:cubicBezTo>
                      <a:pt x="6081" y="5574"/>
                      <a:pt x="5652" y="5885"/>
                      <a:pt x="5181" y="6120"/>
                    </a:cubicBezTo>
                    <a:lnTo>
                      <a:pt x="4529" y="6444"/>
                    </a:lnTo>
                    <a:lnTo>
                      <a:pt x="4529" y="6229"/>
                    </a:lnTo>
                    <a:cubicBezTo>
                      <a:pt x="4529" y="5915"/>
                      <a:pt x="4276" y="5661"/>
                      <a:pt x="3962" y="5661"/>
                    </a:cubicBezTo>
                    <a:lnTo>
                      <a:pt x="565" y="5661"/>
                    </a:lnTo>
                    <a:cubicBezTo>
                      <a:pt x="251" y="5661"/>
                      <a:pt x="0" y="5915"/>
                      <a:pt x="0" y="6229"/>
                    </a:cubicBezTo>
                    <a:lnTo>
                      <a:pt x="0" y="15324"/>
                    </a:lnTo>
                    <a:cubicBezTo>
                      <a:pt x="0" y="15638"/>
                      <a:pt x="251" y="15891"/>
                      <a:pt x="565" y="15891"/>
                    </a:cubicBezTo>
                    <a:lnTo>
                      <a:pt x="3962" y="15891"/>
                    </a:lnTo>
                    <a:cubicBezTo>
                      <a:pt x="4276" y="15891"/>
                      <a:pt x="4529" y="15638"/>
                      <a:pt x="4529" y="15324"/>
                    </a:cubicBezTo>
                    <a:lnTo>
                      <a:pt x="4529" y="14976"/>
                    </a:lnTo>
                    <a:lnTo>
                      <a:pt x="5435" y="15278"/>
                    </a:lnTo>
                    <a:cubicBezTo>
                      <a:pt x="6649" y="15683"/>
                      <a:pt x="7917" y="15888"/>
                      <a:pt x="9197" y="15888"/>
                    </a:cubicBezTo>
                    <a:lnTo>
                      <a:pt x="13020" y="15888"/>
                    </a:lnTo>
                    <a:cubicBezTo>
                      <a:pt x="14219" y="15888"/>
                      <a:pt x="15040" y="14681"/>
                      <a:pt x="14599" y="13566"/>
                    </a:cubicBezTo>
                    <a:cubicBezTo>
                      <a:pt x="15577" y="13298"/>
                      <a:pt x="16106" y="12241"/>
                      <a:pt x="15731" y="11302"/>
                    </a:cubicBezTo>
                    <a:cubicBezTo>
                      <a:pt x="16468" y="11100"/>
                      <a:pt x="16981" y="10429"/>
                      <a:pt x="16984" y="9662"/>
                    </a:cubicBezTo>
                    <a:cubicBezTo>
                      <a:pt x="16981" y="9233"/>
                      <a:pt x="16824" y="8823"/>
                      <a:pt x="16541" y="8503"/>
                    </a:cubicBezTo>
                    <a:cubicBezTo>
                      <a:pt x="16994" y="8005"/>
                      <a:pt x="17108" y="7289"/>
                      <a:pt x="16837" y="6673"/>
                    </a:cubicBezTo>
                    <a:cubicBezTo>
                      <a:pt x="16565" y="6060"/>
                      <a:pt x="15958" y="5661"/>
                      <a:pt x="15285" y="5661"/>
                    </a:cubicBezTo>
                    <a:lnTo>
                      <a:pt x="10635" y="5661"/>
                    </a:lnTo>
                    <a:cubicBezTo>
                      <a:pt x="11109" y="4577"/>
                      <a:pt x="11323" y="3104"/>
                      <a:pt x="11323" y="2364"/>
                    </a:cubicBezTo>
                    <a:cubicBezTo>
                      <a:pt x="11320" y="1060"/>
                      <a:pt x="10263" y="3"/>
                      <a:pt x="895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82259" tIns="82259" rIns="82259" bIns="82259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>
                  <a:solidFill>
                    <a:srgbClr val="435D74"/>
                  </a:solidFill>
                </a:endParaRPr>
              </a:p>
            </p:txBody>
          </p:sp>
          <p:sp>
            <p:nvSpPr>
              <p:cNvPr id="28" name="Google Shape;340;p19">
                <a:extLst>
                  <a:ext uri="{FF2B5EF4-FFF2-40B4-BE49-F238E27FC236}">
                    <a16:creationId xmlns:a16="http://schemas.microsoft.com/office/drawing/2014/main" id="{A71A0257-6908-4F85-A1C1-612AF76C7B24}"/>
                  </a:ext>
                </a:extLst>
              </p:cNvPr>
              <p:cNvSpPr/>
              <p:nvPr/>
            </p:nvSpPr>
            <p:spPr>
              <a:xfrm>
                <a:off x="5839399" y="1627281"/>
                <a:ext cx="29274" cy="35446"/>
              </a:xfrm>
              <a:custGeom>
                <a:avLst/>
                <a:gdLst/>
                <a:ahLst/>
                <a:cxnLst/>
                <a:rect l="l" t="t" r="r" b="b"/>
                <a:pathLst>
                  <a:path w="1861" h="2266" extrusionOk="0">
                    <a:moveTo>
                      <a:pt x="646" y="1"/>
                    </a:moveTo>
                    <a:cubicBezTo>
                      <a:pt x="561" y="1"/>
                      <a:pt x="475" y="20"/>
                      <a:pt x="393" y="61"/>
                    </a:cubicBezTo>
                    <a:cubicBezTo>
                      <a:pt x="112" y="199"/>
                      <a:pt x="0" y="541"/>
                      <a:pt x="139" y="821"/>
                    </a:cubicBezTo>
                    <a:lnTo>
                      <a:pt x="707" y="1954"/>
                    </a:lnTo>
                    <a:cubicBezTo>
                      <a:pt x="805" y="2150"/>
                      <a:pt x="1005" y="2265"/>
                      <a:pt x="1212" y="2265"/>
                    </a:cubicBezTo>
                    <a:cubicBezTo>
                      <a:pt x="1297" y="2265"/>
                      <a:pt x="1384" y="2246"/>
                      <a:pt x="1465" y="2204"/>
                    </a:cubicBezTo>
                    <a:cubicBezTo>
                      <a:pt x="1746" y="2065"/>
                      <a:pt x="1860" y="1727"/>
                      <a:pt x="1718" y="1446"/>
                    </a:cubicBezTo>
                    <a:lnTo>
                      <a:pt x="1154" y="314"/>
                    </a:lnTo>
                    <a:cubicBezTo>
                      <a:pt x="1053" y="115"/>
                      <a:pt x="854" y="1"/>
                      <a:pt x="646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82259" tIns="82259" rIns="82259" bIns="82259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>
                  <a:solidFill>
                    <a:srgbClr val="435D74"/>
                  </a:solidFill>
                </a:endParaRPr>
              </a:p>
            </p:txBody>
          </p:sp>
          <p:sp>
            <p:nvSpPr>
              <p:cNvPr id="29" name="Google Shape;341;p19">
                <a:extLst>
                  <a:ext uri="{FF2B5EF4-FFF2-40B4-BE49-F238E27FC236}">
                    <a16:creationId xmlns:a16="http://schemas.microsoft.com/office/drawing/2014/main" id="{FA43DF21-8837-4154-B6EB-20BC6F30BC31}"/>
                  </a:ext>
                </a:extLst>
              </p:cNvPr>
              <p:cNvSpPr/>
              <p:nvPr/>
            </p:nvSpPr>
            <p:spPr>
              <a:xfrm>
                <a:off x="5901706" y="1627281"/>
                <a:ext cx="29274" cy="35462"/>
              </a:xfrm>
              <a:custGeom>
                <a:avLst/>
                <a:gdLst/>
                <a:ahLst/>
                <a:cxnLst/>
                <a:rect l="l" t="t" r="r" b="b"/>
                <a:pathLst>
                  <a:path w="1861" h="2267" extrusionOk="0">
                    <a:moveTo>
                      <a:pt x="1215" y="1"/>
                    </a:moveTo>
                    <a:cubicBezTo>
                      <a:pt x="1007" y="1"/>
                      <a:pt x="808" y="115"/>
                      <a:pt x="707" y="314"/>
                    </a:cubicBezTo>
                    <a:lnTo>
                      <a:pt x="143" y="1446"/>
                    </a:lnTo>
                    <a:cubicBezTo>
                      <a:pt x="1" y="1727"/>
                      <a:pt x="116" y="2065"/>
                      <a:pt x="396" y="2207"/>
                    </a:cubicBezTo>
                    <a:cubicBezTo>
                      <a:pt x="477" y="2247"/>
                      <a:pt x="562" y="2266"/>
                      <a:pt x="646" y="2266"/>
                    </a:cubicBezTo>
                    <a:cubicBezTo>
                      <a:pt x="854" y="2266"/>
                      <a:pt x="1055" y="2151"/>
                      <a:pt x="1154" y="1954"/>
                    </a:cubicBezTo>
                    <a:lnTo>
                      <a:pt x="1722" y="821"/>
                    </a:lnTo>
                    <a:cubicBezTo>
                      <a:pt x="1861" y="541"/>
                      <a:pt x="1749" y="199"/>
                      <a:pt x="1468" y="61"/>
                    </a:cubicBezTo>
                    <a:cubicBezTo>
                      <a:pt x="1387" y="20"/>
                      <a:pt x="1300" y="1"/>
                      <a:pt x="1215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82259" tIns="82259" rIns="82259" bIns="82259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>
                  <a:solidFill>
                    <a:srgbClr val="435D74"/>
                  </a:solidFill>
                </a:endParaRPr>
              </a:p>
            </p:txBody>
          </p:sp>
          <p:sp>
            <p:nvSpPr>
              <p:cNvPr id="30" name="Google Shape;342;p19">
                <a:extLst>
                  <a:ext uri="{FF2B5EF4-FFF2-40B4-BE49-F238E27FC236}">
                    <a16:creationId xmlns:a16="http://schemas.microsoft.com/office/drawing/2014/main" id="{A0288D35-9CE0-4D3C-935C-FDE0B22C0C0B}"/>
                  </a:ext>
                </a:extLst>
              </p:cNvPr>
              <p:cNvSpPr/>
              <p:nvPr/>
            </p:nvSpPr>
            <p:spPr>
              <a:xfrm>
                <a:off x="5929737" y="1680419"/>
                <a:ext cx="35581" cy="17723"/>
              </a:xfrm>
              <a:custGeom>
                <a:avLst/>
                <a:gdLst/>
                <a:ahLst/>
                <a:cxnLst/>
                <a:rect l="l" t="t" r="r" b="b"/>
                <a:pathLst>
                  <a:path w="2262" h="1133" extrusionOk="0">
                    <a:moveTo>
                      <a:pt x="565" y="0"/>
                    </a:moveTo>
                    <a:cubicBezTo>
                      <a:pt x="251" y="0"/>
                      <a:pt x="0" y="254"/>
                      <a:pt x="0" y="568"/>
                    </a:cubicBezTo>
                    <a:cubicBezTo>
                      <a:pt x="0" y="879"/>
                      <a:pt x="251" y="1132"/>
                      <a:pt x="565" y="1132"/>
                    </a:cubicBezTo>
                    <a:lnTo>
                      <a:pt x="1697" y="1132"/>
                    </a:lnTo>
                    <a:cubicBezTo>
                      <a:pt x="2011" y="1132"/>
                      <a:pt x="2262" y="879"/>
                      <a:pt x="2262" y="568"/>
                    </a:cubicBezTo>
                    <a:cubicBezTo>
                      <a:pt x="2262" y="254"/>
                      <a:pt x="2011" y="0"/>
                      <a:pt x="169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82259" tIns="82259" rIns="82259" bIns="82259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>
                  <a:solidFill>
                    <a:srgbClr val="435D74"/>
                  </a:solidFill>
                </a:endParaRPr>
              </a:p>
            </p:txBody>
          </p:sp>
          <p:sp>
            <p:nvSpPr>
              <p:cNvPr id="31" name="Google Shape;343;p19">
                <a:extLst>
                  <a:ext uri="{FF2B5EF4-FFF2-40B4-BE49-F238E27FC236}">
                    <a16:creationId xmlns:a16="http://schemas.microsoft.com/office/drawing/2014/main" id="{BA64CAA5-A9B8-43D4-85AB-7F45F974915F}"/>
                  </a:ext>
                </a:extLst>
              </p:cNvPr>
              <p:cNvSpPr/>
              <p:nvPr/>
            </p:nvSpPr>
            <p:spPr>
              <a:xfrm>
                <a:off x="5805061" y="1680419"/>
                <a:ext cx="35581" cy="17723"/>
              </a:xfrm>
              <a:custGeom>
                <a:avLst/>
                <a:gdLst/>
                <a:ahLst/>
                <a:cxnLst/>
                <a:rect l="l" t="t" r="r" b="b"/>
                <a:pathLst>
                  <a:path w="2262" h="1133" extrusionOk="0">
                    <a:moveTo>
                      <a:pt x="565" y="0"/>
                    </a:moveTo>
                    <a:cubicBezTo>
                      <a:pt x="251" y="0"/>
                      <a:pt x="0" y="254"/>
                      <a:pt x="0" y="568"/>
                    </a:cubicBezTo>
                    <a:cubicBezTo>
                      <a:pt x="0" y="879"/>
                      <a:pt x="251" y="1132"/>
                      <a:pt x="565" y="1132"/>
                    </a:cubicBezTo>
                    <a:lnTo>
                      <a:pt x="1697" y="1132"/>
                    </a:lnTo>
                    <a:cubicBezTo>
                      <a:pt x="2011" y="1132"/>
                      <a:pt x="2262" y="879"/>
                      <a:pt x="2262" y="568"/>
                    </a:cubicBezTo>
                    <a:cubicBezTo>
                      <a:pt x="2262" y="254"/>
                      <a:pt x="2011" y="0"/>
                      <a:pt x="169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82259" tIns="82259" rIns="82259" bIns="82259" anchor="ctr" anchorCtr="0">
                <a:noAutofit/>
              </a:bodyPr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>
                  <a:solidFill>
                    <a:srgbClr val="435D74"/>
                  </a:solidFill>
                </a:endParaRPr>
              </a:p>
            </p:txBody>
          </p:sp>
        </p:grpSp>
        <p:sp>
          <p:nvSpPr>
            <p:cNvPr id="33" name="Google Shape;345;p19">
              <a:extLst>
                <a:ext uri="{FF2B5EF4-FFF2-40B4-BE49-F238E27FC236}">
                  <a16:creationId xmlns:a16="http://schemas.microsoft.com/office/drawing/2014/main" id="{626BBE0B-A481-472A-AC15-107334DBD797}"/>
                </a:ext>
              </a:extLst>
            </p:cNvPr>
            <p:cNvSpPr/>
            <p:nvPr/>
          </p:nvSpPr>
          <p:spPr>
            <a:xfrm>
              <a:off x="3252950" y="3857407"/>
              <a:ext cx="301757" cy="301764"/>
            </a:xfrm>
            <a:custGeom>
              <a:avLst/>
              <a:gdLst/>
              <a:ahLst/>
              <a:cxnLst/>
              <a:rect l="l" t="t" r="r" b="b"/>
              <a:pathLst>
                <a:path w="11721" h="11650" extrusionOk="0">
                  <a:moveTo>
                    <a:pt x="7625" y="694"/>
                  </a:moveTo>
                  <a:cubicBezTo>
                    <a:pt x="9515" y="694"/>
                    <a:pt x="11059" y="2206"/>
                    <a:pt x="11059" y="4096"/>
                  </a:cubicBezTo>
                  <a:cubicBezTo>
                    <a:pt x="11059" y="5987"/>
                    <a:pt x="9515" y="7530"/>
                    <a:pt x="7625" y="7530"/>
                  </a:cubicBezTo>
                  <a:cubicBezTo>
                    <a:pt x="5735" y="7530"/>
                    <a:pt x="4223" y="5987"/>
                    <a:pt x="4223" y="4096"/>
                  </a:cubicBezTo>
                  <a:cubicBezTo>
                    <a:pt x="4223" y="2206"/>
                    <a:pt x="5735" y="694"/>
                    <a:pt x="7625" y="694"/>
                  </a:cubicBezTo>
                  <a:close/>
                  <a:moveTo>
                    <a:pt x="3344" y="8066"/>
                  </a:moveTo>
                  <a:cubicBezTo>
                    <a:pt x="3435" y="8066"/>
                    <a:pt x="3529" y="8098"/>
                    <a:pt x="3593" y="8161"/>
                  </a:cubicBezTo>
                  <a:cubicBezTo>
                    <a:pt x="3719" y="8287"/>
                    <a:pt x="3719" y="8507"/>
                    <a:pt x="3593" y="8633"/>
                  </a:cubicBezTo>
                  <a:lnTo>
                    <a:pt x="1324" y="10870"/>
                  </a:lnTo>
                  <a:cubicBezTo>
                    <a:pt x="1277" y="10933"/>
                    <a:pt x="1190" y="10964"/>
                    <a:pt x="1100" y="10964"/>
                  </a:cubicBezTo>
                  <a:cubicBezTo>
                    <a:pt x="1009" y="10964"/>
                    <a:pt x="915" y="10933"/>
                    <a:pt x="852" y="10870"/>
                  </a:cubicBezTo>
                  <a:cubicBezTo>
                    <a:pt x="757" y="10744"/>
                    <a:pt x="757" y="10523"/>
                    <a:pt x="852" y="10397"/>
                  </a:cubicBezTo>
                  <a:lnTo>
                    <a:pt x="3120" y="8161"/>
                  </a:lnTo>
                  <a:cubicBezTo>
                    <a:pt x="3167" y="8098"/>
                    <a:pt x="3254" y="8066"/>
                    <a:pt x="3344" y="8066"/>
                  </a:cubicBezTo>
                  <a:close/>
                  <a:moveTo>
                    <a:pt x="7625" y="1"/>
                  </a:moveTo>
                  <a:cubicBezTo>
                    <a:pt x="5357" y="1"/>
                    <a:pt x="3529" y="1860"/>
                    <a:pt x="3529" y="4096"/>
                  </a:cubicBezTo>
                  <a:cubicBezTo>
                    <a:pt x="3529" y="5136"/>
                    <a:pt x="3908" y="6050"/>
                    <a:pt x="4538" y="6743"/>
                  </a:cubicBezTo>
                  <a:lnTo>
                    <a:pt x="3813" y="7467"/>
                  </a:lnTo>
                  <a:cubicBezTo>
                    <a:pt x="3673" y="7386"/>
                    <a:pt x="3520" y="7347"/>
                    <a:pt x="3367" y="7347"/>
                  </a:cubicBezTo>
                  <a:cubicBezTo>
                    <a:pt x="3106" y="7347"/>
                    <a:pt x="2846" y="7458"/>
                    <a:pt x="2647" y="7656"/>
                  </a:cubicBezTo>
                  <a:lnTo>
                    <a:pt x="379" y="9893"/>
                  </a:lnTo>
                  <a:cubicBezTo>
                    <a:pt x="1" y="10271"/>
                    <a:pt x="1" y="10964"/>
                    <a:pt x="379" y="11343"/>
                  </a:cubicBezTo>
                  <a:cubicBezTo>
                    <a:pt x="584" y="11547"/>
                    <a:pt x="852" y="11650"/>
                    <a:pt x="1119" y="11650"/>
                  </a:cubicBezTo>
                  <a:cubicBezTo>
                    <a:pt x="1387" y="11650"/>
                    <a:pt x="1655" y="11547"/>
                    <a:pt x="1860" y="11343"/>
                  </a:cubicBezTo>
                  <a:lnTo>
                    <a:pt x="4097" y="9106"/>
                  </a:lnTo>
                  <a:cubicBezTo>
                    <a:pt x="4412" y="8791"/>
                    <a:pt x="4506" y="8318"/>
                    <a:pt x="4286" y="7909"/>
                  </a:cubicBezTo>
                  <a:lnTo>
                    <a:pt x="5010" y="7215"/>
                  </a:lnTo>
                  <a:cubicBezTo>
                    <a:pt x="5703" y="7814"/>
                    <a:pt x="6648" y="8192"/>
                    <a:pt x="7625" y="8192"/>
                  </a:cubicBezTo>
                  <a:cubicBezTo>
                    <a:pt x="9925" y="8192"/>
                    <a:pt x="11721" y="6333"/>
                    <a:pt x="11721" y="4096"/>
                  </a:cubicBezTo>
                  <a:cubicBezTo>
                    <a:pt x="11721" y="1828"/>
                    <a:pt x="9893" y="1"/>
                    <a:pt x="762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82259" tIns="82259" rIns="82259" bIns="82259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/>
            </a:p>
          </p:txBody>
        </p:sp>
        <p:sp>
          <p:nvSpPr>
            <p:cNvPr id="35" name="Google Shape;347;p19">
              <a:extLst>
                <a:ext uri="{FF2B5EF4-FFF2-40B4-BE49-F238E27FC236}">
                  <a16:creationId xmlns:a16="http://schemas.microsoft.com/office/drawing/2014/main" id="{5B61E6DF-D81C-4A03-A988-7521344D0875}"/>
                </a:ext>
              </a:extLst>
            </p:cNvPr>
            <p:cNvSpPr/>
            <p:nvPr/>
          </p:nvSpPr>
          <p:spPr>
            <a:xfrm>
              <a:off x="6207996" y="3558378"/>
              <a:ext cx="301738" cy="211231"/>
            </a:xfrm>
            <a:custGeom>
              <a:avLst/>
              <a:gdLst/>
              <a:ahLst/>
              <a:cxnLst/>
              <a:rect l="l" t="t" r="r" b="b"/>
              <a:pathLst>
                <a:path w="11658" h="8192" extrusionOk="0">
                  <a:moveTo>
                    <a:pt x="10429" y="662"/>
                  </a:moveTo>
                  <a:cubicBezTo>
                    <a:pt x="10114" y="1008"/>
                    <a:pt x="6207" y="4915"/>
                    <a:pt x="6081" y="5072"/>
                  </a:cubicBezTo>
                  <a:cubicBezTo>
                    <a:pt x="6018" y="5135"/>
                    <a:pt x="5916" y="5167"/>
                    <a:pt x="5813" y="5167"/>
                  </a:cubicBezTo>
                  <a:cubicBezTo>
                    <a:pt x="5711" y="5167"/>
                    <a:pt x="5608" y="5135"/>
                    <a:pt x="5545" y="5072"/>
                  </a:cubicBezTo>
                  <a:lnTo>
                    <a:pt x="1135" y="662"/>
                  </a:lnTo>
                  <a:close/>
                  <a:moveTo>
                    <a:pt x="662" y="1134"/>
                  </a:moveTo>
                  <a:lnTo>
                    <a:pt x="3624" y="4096"/>
                  </a:lnTo>
                  <a:lnTo>
                    <a:pt x="662" y="7057"/>
                  </a:lnTo>
                  <a:lnTo>
                    <a:pt x="662" y="1134"/>
                  </a:lnTo>
                  <a:close/>
                  <a:moveTo>
                    <a:pt x="10996" y="1134"/>
                  </a:moveTo>
                  <a:lnTo>
                    <a:pt x="10996" y="7057"/>
                  </a:lnTo>
                  <a:lnTo>
                    <a:pt x="8034" y="4096"/>
                  </a:lnTo>
                  <a:lnTo>
                    <a:pt x="10996" y="1134"/>
                  </a:lnTo>
                  <a:close/>
                  <a:moveTo>
                    <a:pt x="7562" y="4568"/>
                  </a:moveTo>
                  <a:lnTo>
                    <a:pt x="10492" y="7530"/>
                  </a:lnTo>
                  <a:lnTo>
                    <a:pt x="1198" y="7530"/>
                  </a:lnTo>
                  <a:lnTo>
                    <a:pt x="4096" y="4568"/>
                  </a:lnTo>
                  <a:lnTo>
                    <a:pt x="5073" y="5545"/>
                  </a:lnTo>
                  <a:cubicBezTo>
                    <a:pt x="5278" y="5750"/>
                    <a:pt x="5553" y="5852"/>
                    <a:pt x="5829" y="5852"/>
                  </a:cubicBezTo>
                  <a:cubicBezTo>
                    <a:pt x="6105" y="5852"/>
                    <a:pt x="6380" y="5750"/>
                    <a:pt x="6585" y="5545"/>
                  </a:cubicBezTo>
                  <a:lnTo>
                    <a:pt x="7562" y="4568"/>
                  </a:lnTo>
                  <a:close/>
                  <a:moveTo>
                    <a:pt x="1009" y="0"/>
                  </a:moveTo>
                  <a:cubicBezTo>
                    <a:pt x="473" y="0"/>
                    <a:pt x="1" y="473"/>
                    <a:pt x="1" y="1008"/>
                  </a:cubicBezTo>
                  <a:lnTo>
                    <a:pt x="1" y="7152"/>
                  </a:lnTo>
                  <a:cubicBezTo>
                    <a:pt x="1" y="7719"/>
                    <a:pt x="473" y="8191"/>
                    <a:pt x="1009" y="8191"/>
                  </a:cubicBezTo>
                  <a:lnTo>
                    <a:pt x="10618" y="8191"/>
                  </a:lnTo>
                  <a:cubicBezTo>
                    <a:pt x="11185" y="8191"/>
                    <a:pt x="11657" y="7719"/>
                    <a:pt x="11657" y="7152"/>
                  </a:cubicBezTo>
                  <a:lnTo>
                    <a:pt x="11657" y="1008"/>
                  </a:lnTo>
                  <a:cubicBezTo>
                    <a:pt x="11657" y="441"/>
                    <a:pt x="11185" y="0"/>
                    <a:pt x="1061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82259" tIns="82259" rIns="82259" bIns="82259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/>
            </a:p>
          </p:txBody>
        </p:sp>
        <p:grpSp>
          <p:nvGrpSpPr>
            <p:cNvPr id="36" name="Google Shape;348;p19">
              <a:extLst>
                <a:ext uri="{FF2B5EF4-FFF2-40B4-BE49-F238E27FC236}">
                  <a16:creationId xmlns:a16="http://schemas.microsoft.com/office/drawing/2014/main" id="{C1742B95-0E8C-41D5-9FB3-97E8FBC1BC4A}"/>
                </a:ext>
              </a:extLst>
            </p:cNvPr>
            <p:cNvGrpSpPr/>
            <p:nvPr/>
          </p:nvGrpSpPr>
          <p:grpSpPr>
            <a:xfrm>
              <a:off x="6108400" y="1284282"/>
              <a:ext cx="194700" cy="609260"/>
              <a:chOff x="6215336" y="1495425"/>
              <a:chExt cx="194700" cy="437813"/>
            </a:xfrm>
          </p:grpSpPr>
          <p:cxnSp>
            <p:nvCxnSpPr>
              <p:cNvPr id="37" name="Google Shape;349;p19">
                <a:extLst>
                  <a:ext uri="{FF2B5EF4-FFF2-40B4-BE49-F238E27FC236}">
                    <a16:creationId xmlns:a16="http://schemas.microsoft.com/office/drawing/2014/main" id="{07567F64-1CF2-4953-A78B-5DE8590E77F5}"/>
                  </a:ext>
                </a:extLst>
              </p:cNvPr>
              <p:cNvCxnSpPr/>
              <p:nvPr/>
            </p:nvCxnSpPr>
            <p:spPr>
              <a:xfrm>
                <a:off x="6410036" y="1495425"/>
                <a:ext cx="0" cy="4356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4343"/>
                </a:solidFill>
                <a:prstDash val="dot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38" name="Google Shape;350;p19">
                <a:extLst>
                  <a:ext uri="{FF2B5EF4-FFF2-40B4-BE49-F238E27FC236}">
                    <a16:creationId xmlns:a16="http://schemas.microsoft.com/office/drawing/2014/main" id="{F3B2D7E0-3E2F-4CC3-A951-A86DDE0560BD}"/>
                  </a:ext>
                </a:extLst>
              </p:cNvPr>
              <p:cNvCxnSpPr/>
              <p:nvPr/>
            </p:nvCxnSpPr>
            <p:spPr>
              <a:xfrm>
                <a:off x="6215336" y="1931138"/>
                <a:ext cx="194700" cy="2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4343"/>
                </a:solidFill>
                <a:prstDash val="dot"/>
                <a:round/>
                <a:headEnd type="none" w="med" len="med"/>
                <a:tailEnd type="none" w="med" len="med"/>
              </a:ln>
            </p:spPr>
          </p:cxnSp>
        </p:grpSp>
        <p:cxnSp>
          <p:nvCxnSpPr>
            <p:cNvPr id="39" name="Google Shape;351;p19">
              <a:extLst>
                <a:ext uri="{FF2B5EF4-FFF2-40B4-BE49-F238E27FC236}">
                  <a16:creationId xmlns:a16="http://schemas.microsoft.com/office/drawing/2014/main" id="{1A4DB219-E67D-4ED1-9A19-E896CDC0B089}"/>
                </a:ext>
              </a:extLst>
            </p:cNvPr>
            <p:cNvCxnSpPr/>
            <p:nvPr/>
          </p:nvCxnSpPr>
          <p:spPr>
            <a:xfrm>
              <a:off x="7334211" y="1900625"/>
              <a:ext cx="0" cy="264000"/>
            </a:xfrm>
            <a:prstGeom prst="straightConnector1">
              <a:avLst/>
            </a:prstGeom>
            <a:noFill/>
            <a:ln w="9525" cap="flat" cmpd="sng">
              <a:solidFill>
                <a:srgbClr val="434343"/>
              </a:solidFill>
              <a:prstDash val="dot"/>
              <a:round/>
              <a:headEnd type="none" w="med" len="med"/>
              <a:tailEnd type="none" w="med" len="med"/>
            </a:ln>
          </p:spPr>
        </p:cxnSp>
        <p:grpSp>
          <p:nvGrpSpPr>
            <p:cNvPr id="40" name="Google Shape;352;p19">
              <a:extLst>
                <a:ext uri="{FF2B5EF4-FFF2-40B4-BE49-F238E27FC236}">
                  <a16:creationId xmlns:a16="http://schemas.microsoft.com/office/drawing/2014/main" id="{A3A3ED6D-8F4E-454F-91B0-DD0CBED15EBE}"/>
                </a:ext>
              </a:extLst>
            </p:cNvPr>
            <p:cNvGrpSpPr/>
            <p:nvPr/>
          </p:nvGrpSpPr>
          <p:grpSpPr>
            <a:xfrm>
              <a:off x="3726872" y="880122"/>
              <a:ext cx="2782860" cy="3126116"/>
              <a:chOff x="3833686" y="197771"/>
              <a:chExt cx="1605250" cy="3719354"/>
            </a:xfrm>
          </p:grpSpPr>
          <p:cxnSp>
            <p:nvCxnSpPr>
              <p:cNvPr id="41" name="Google Shape;353;p19">
                <a:extLst>
                  <a:ext uri="{FF2B5EF4-FFF2-40B4-BE49-F238E27FC236}">
                    <a16:creationId xmlns:a16="http://schemas.microsoft.com/office/drawing/2014/main" id="{410F6FE8-4745-48C8-A36E-4783888623A9}"/>
                  </a:ext>
                </a:extLst>
              </p:cNvPr>
              <p:cNvCxnSpPr/>
              <p:nvPr/>
            </p:nvCxnSpPr>
            <p:spPr>
              <a:xfrm rot="10800000">
                <a:off x="5438936" y="197771"/>
                <a:ext cx="0" cy="314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4343"/>
                </a:solidFill>
                <a:prstDash val="dot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42" name="Google Shape;354;p19">
                <a:extLst>
                  <a:ext uri="{FF2B5EF4-FFF2-40B4-BE49-F238E27FC236}">
                    <a16:creationId xmlns:a16="http://schemas.microsoft.com/office/drawing/2014/main" id="{857725E1-B882-4C99-9100-C9ED959E2886}"/>
                  </a:ext>
                </a:extLst>
              </p:cNvPr>
              <p:cNvCxnSpPr/>
              <p:nvPr/>
            </p:nvCxnSpPr>
            <p:spPr>
              <a:xfrm>
                <a:off x="3833686" y="3917125"/>
                <a:ext cx="3270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4343"/>
                </a:solidFill>
                <a:prstDash val="dot"/>
                <a:round/>
                <a:headEnd type="none" w="med" len="med"/>
                <a:tailEnd type="none" w="med" len="med"/>
              </a:ln>
            </p:spPr>
          </p:cxnSp>
        </p:grpSp>
        <p:cxnSp>
          <p:nvCxnSpPr>
            <p:cNvPr id="43" name="Google Shape;355;p19">
              <a:extLst>
                <a:ext uri="{FF2B5EF4-FFF2-40B4-BE49-F238E27FC236}">
                  <a16:creationId xmlns:a16="http://schemas.microsoft.com/office/drawing/2014/main" id="{1DF0C502-D1BA-4A38-9611-51F9000E8DE9}"/>
                </a:ext>
              </a:extLst>
            </p:cNvPr>
            <p:cNvCxnSpPr/>
            <p:nvPr/>
          </p:nvCxnSpPr>
          <p:spPr>
            <a:xfrm>
              <a:off x="4686921" y="3124513"/>
              <a:ext cx="0" cy="290400"/>
            </a:xfrm>
            <a:prstGeom prst="straightConnector1">
              <a:avLst/>
            </a:prstGeom>
            <a:noFill/>
            <a:ln w="9525" cap="flat" cmpd="sng">
              <a:solidFill>
                <a:srgbClr val="434343"/>
              </a:solidFill>
              <a:prstDash val="dot"/>
              <a:round/>
              <a:headEnd type="none" w="med" len="med"/>
              <a:tailEnd type="none" w="med" len="med"/>
            </a:ln>
          </p:spPr>
        </p:cxnSp>
        <p:cxnSp>
          <p:nvCxnSpPr>
            <p:cNvPr id="44" name="Google Shape;356;p19">
              <a:extLst>
                <a:ext uri="{FF2B5EF4-FFF2-40B4-BE49-F238E27FC236}">
                  <a16:creationId xmlns:a16="http://schemas.microsoft.com/office/drawing/2014/main" id="{3FF9C834-AE3B-4350-BE3A-6C2DA8492C79}"/>
                </a:ext>
              </a:extLst>
            </p:cNvPr>
            <p:cNvCxnSpPr/>
            <p:nvPr/>
          </p:nvCxnSpPr>
          <p:spPr>
            <a:xfrm>
              <a:off x="984565" y="3460613"/>
              <a:ext cx="0" cy="264000"/>
            </a:xfrm>
            <a:prstGeom prst="straightConnector1">
              <a:avLst/>
            </a:prstGeom>
            <a:noFill/>
            <a:ln w="9525" cap="flat" cmpd="sng">
              <a:solidFill>
                <a:srgbClr val="434343"/>
              </a:solidFill>
              <a:prstDash val="dot"/>
              <a:round/>
              <a:headEnd type="none" w="med" len="med"/>
              <a:tailEnd type="none" w="med" len="med"/>
            </a:ln>
          </p:spPr>
        </p:cxnSp>
        <p:cxnSp>
          <p:nvCxnSpPr>
            <p:cNvPr id="45" name="Google Shape;357;p19">
              <a:extLst>
                <a:ext uri="{FF2B5EF4-FFF2-40B4-BE49-F238E27FC236}">
                  <a16:creationId xmlns:a16="http://schemas.microsoft.com/office/drawing/2014/main" id="{3B94958D-7CF8-42CC-A43A-5A20E3AD5D24}"/>
                </a:ext>
              </a:extLst>
            </p:cNvPr>
            <p:cNvCxnSpPr/>
            <p:nvPr/>
          </p:nvCxnSpPr>
          <p:spPr>
            <a:xfrm>
              <a:off x="6787861" y="3532000"/>
              <a:ext cx="0" cy="264000"/>
            </a:xfrm>
            <a:prstGeom prst="straightConnector1">
              <a:avLst/>
            </a:prstGeom>
            <a:noFill/>
            <a:ln w="9525" cap="flat" cmpd="sng">
              <a:solidFill>
                <a:srgbClr val="434343"/>
              </a:solidFill>
              <a:prstDash val="dot"/>
              <a:round/>
              <a:headEnd type="none" w="med" len="med"/>
              <a:tailEnd type="none" w="med" len="med"/>
            </a:ln>
          </p:spPr>
        </p:cxnSp>
        <p:grpSp>
          <p:nvGrpSpPr>
            <p:cNvPr id="46" name="Google Shape;358;p19">
              <a:extLst>
                <a:ext uri="{FF2B5EF4-FFF2-40B4-BE49-F238E27FC236}">
                  <a16:creationId xmlns:a16="http://schemas.microsoft.com/office/drawing/2014/main" id="{E4CC09F7-2B3B-4AC3-B555-EFD6299AFF70}"/>
                </a:ext>
              </a:extLst>
            </p:cNvPr>
            <p:cNvGrpSpPr/>
            <p:nvPr/>
          </p:nvGrpSpPr>
          <p:grpSpPr>
            <a:xfrm>
              <a:off x="3499549" y="1642675"/>
              <a:ext cx="327000" cy="194700"/>
              <a:chOff x="3606474" y="1671125"/>
              <a:chExt cx="327000" cy="194700"/>
            </a:xfrm>
          </p:grpSpPr>
          <p:cxnSp>
            <p:nvCxnSpPr>
              <p:cNvPr id="47" name="Google Shape;359;p19">
                <a:extLst>
                  <a:ext uri="{FF2B5EF4-FFF2-40B4-BE49-F238E27FC236}">
                    <a16:creationId xmlns:a16="http://schemas.microsoft.com/office/drawing/2014/main" id="{39C5204D-D268-456A-894F-01D18C68E07F}"/>
                  </a:ext>
                </a:extLst>
              </p:cNvPr>
              <p:cNvCxnSpPr/>
              <p:nvPr/>
            </p:nvCxnSpPr>
            <p:spPr>
              <a:xfrm>
                <a:off x="3606474" y="1671125"/>
                <a:ext cx="327000" cy="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4343"/>
                </a:solidFill>
                <a:prstDash val="dot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48" name="Google Shape;360;p19">
                <a:extLst>
                  <a:ext uri="{FF2B5EF4-FFF2-40B4-BE49-F238E27FC236}">
                    <a16:creationId xmlns:a16="http://schemas.microsoft.com/office/drawing/2014/main" id="{5D735624-A162-43D9-80B4-498023334AFE}"/>
                  </a:ext>
                </a:extLst>
              </p:cNvPr>
              <p:cNvCxnSpPr/>
              <p:nvPr/>
            </p:nvCxnSpPr>
            <p:spPr>
              <a:xfrm rot="5400000">
                <a:off x="3835074" y="1767425"/>
                <a:ext cx="194700" cy="2100"/>
              </a:xfrm>
              <a:prstGeom prst="straightConnector1">
                <a:avLst/>
              </a:prstGeom>
              <a:noFill/>
              <a:ln w="9525" cap="flat" cmpd="sng">
                <a:solidFill>
                  <a:srgbClr val="434343"/>
                </a:solidFill>
                <a:prstDash val="dot"/>
                <a:round/>
                <a:headEnd type="none" w="med" len="med"/>
                <a:tailEnd type="none" w="med" len="med"/>
              </a:ln>
            </p:spPr>
          </p:cxnSp>
        </p:grpSp>
        <p:sp>
          <p:nvSpPr>
            <p:cNvPr id="49" name="Google Shape;361;p19">
              <a:extLst>
                <a:ext uri="{FF2B5EF4-FFF2-40B4-BE49-F238E27FC236}">
                  <a16:creationId xmlns:a16="http://schemas.microsoft.com/office/drawing/2014/main" id="{4C718BB3-BE77-4CD5-9DEE-A4AE675D166D}"/>
                </a:ext>
              </a:extLst>
            </p:cNvPr>
            <p:cNvSpPr txBox="1"/>
            <p:nvPr/>
          </p:nvSpPr>
          <p:spPr>
            <a:xfrm>
              <a:off x="2134562" y="1437813"/>
              <a:ext cx="1490400" cy="399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2259" tIns="82259" rIns="82259" bIns="82259" anchor="ctr" anchorCtr="0">
              <a:noAutofit/>
            </a:bodyPr>
            <a:lstStyle/>
            <a:p>
              <a:pPr algn="ctr"/>
              <a:r>
                <a:rPr lang="en-GB" sz="1080">
                  <a:latin typeface="Georgia Pro Light" panose="02040302050405020303" pitchFamily="18" charset="0"/>
                </a:rPr>
                <a:t>LuxaOS v4.00 Service Pack 1 release covering few internal defects</a:t>
              </a:r>
              <a:endParaRPr lang="en-US" sz="1080">
                <a:latin typeface="Georgia Pro Light" panose="02040302050405020303" pitchFamily="18" charset="0"/>
              </a:endParaRPr>
            </a:p>
          </p:txBody>
        </p:sp>
        <p:sp>
          <p:nvSpPr>
            <p:cNvPr id="50" name="Google Shape;362;p19">
              <a:extLst>
                <a:ext uri="{FF2B5EF4-FFF2-40B4-BE49-F238E27FC236}">
                  <a16:creationId xmlns:a16="http://schemas.microsoft.com/office/drawing/2014/main" id="{72E73756-DE89-4688-B0C4-CC20CC824595}"/>
                </a:ext>
              </a:extLst>
            </p:cNvPr>
            <p:cNvSpPr txBox="1"/>
            <p:nvPr/>
          </p:nvSpPr>
          <p:spPr>
            <a:xfrm>
              <a:off x="6588701" y="1379013"/>
              <a:ext cx="1491000" cy="399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2259" tIns="82259" rIns="82259" bIns="82259" anchor="ctr" anchorCtr="0">
              <a:noAutofit/>
            </a:bodyPr>
            <a:lstStyle/>
            <a:p>
              <a:pPr algn="ctr"/>
              <a:r>
                <a:rPr lang="en-GB" sz="1080">
                  <a:latin typeface="Georgia Pro Light" panose="02040302050405020303" pitchFamily="18" charset="0"/>
                </a:rPr>
                <a:t>LuxaOS v4.01 Release with </a:t>
              </a:r>
              <a:r>
                <a:rPr lang="en-GB" sz="1080" err="1">
                  <a:latin typeface="Georgia Pro Light" panose="02040302050405020303" pitchFamily="18" charset="0"/>
                </a:rPr>
                <a:t>Nexo</a:t>
              </a:r>
              <a:r>
                <a:rPr lang="en-GB" sz="1080">
                  <a:latin typeface="Georgia Pro Light" panose="02040302050405020303" pitchFamily="18" charset="0"/>
                </a:rPr>
                <a:t> 2 and </a:t>
              </a:r>
              <a:r>
                <a:rPr lang="en-GB" sz="1080" err="1">
                  <a:latin typeface="Georgia Pro Light" panose="02040302050405020303" pitchFamily="18" charset="0"/>
                </a:rPr>
                <a:t>AxoControl</a:t>
              </a:r>
              <a:r>
                <a:rPr lang="en-GB" sz="1080">
                  <a:latin typeface="Georgia Pro Light" panose="02040302050405020303" pitchFamily="18" charset="0"/>
                </a:rPr>
                <a:t> as a unified platform</a:t>
              </a:r>
              <a:endParaRPr lang="en-US" sz="1080">
                <a:latin typeface="Georgia Pro Light" panose="02040302050405020303" pitchFamily="18" charset="0"/>
              </a:endParaRPr>
            </a:p>
          </p:txBody>
        </p:sp>
        <p:sp>
          <p:nvSpPr>
            <p:cNvPr id="51" name="Google Shape;363;p19">
              <a:extLst>
                <a:ext uri="{FF2B5EF4-FFF2-40B4-BE49-F238E27FC236}">
                  <a16:creationId xmlns:a16="http://schemas.microsoft.com/office/drawing/2014/main" id="{6FB6C443-0BD4-4818-9A24-D237E8CFBC08}"/>
                </a:ext>
              </a:extLst>
            </p:cNvPr>
            <p:cNvSpPr txBox="1"/>
            <p:nvPr/>
          </p:nvSpPr>
          <p:spPr>
            <a:xfrm>
              <a:off x="6919852" y="3453275"/>
              <a:ext cx="1491000" cy="399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2259" tIns="82259" rIns="82259" bIns="82259" anchor="ctr" anchorCtr="0">
              <a:noAutofit/>
            </a:bodyPr>
            <a:lstStyle/>
            <a:p>
              <a:pPr algn="ctr"/>
              <a:r>
                <a:rPr lang="en-GB" sz="1080" err="1">
                  <a:latin typeface="Georgia Pro Light" panose="02040302050405020303" pitchFamily="18" charset="0"/>
                </a:rPr>
                <a:t>LuxaStat</a:t>
              </a:r>
              <a:r>
                <a:rPr lang="en-GB" sz="1080">
                  <a:latin typeface="Georgia Pro Light" panose="02040302050405020303" pitchFamily="18" charset="0"/>
                </a:rPr>
                <a:t> v1.00 Patch Release</a:t>
              </a:r>
              <a:endParaRPr lang="en-US" sz="1080">
                <a:latin typeface="Georgia Pro Light" panose="02040302050405020303" pitchFamily="18" charset="0"/>
              </a:endParaRPr>
            </a:p>
          </p:txBody>
        </p:sp>
        <p:sp>
          <p:nvSpPr>
            <p:cNvPr id="52" name="Google Shape;364;p19">
              <a:extLst>
                <a:ext uri="{FF2B5EF4-FFF2-40B4-BE49-F238E27FC236}">
                  <a16:creationId xmlns:a16="http://schemas.microsoft.com/office/drawing/2014/main" id="{AAAC47CE-D16C-4B75-9CE9-F09E1951D075}"/>
                </a:ext>
              </a:extLst>
            </p:cNvPr>
            <p:cNvSpPr txBox="1"/>
            <p:nvPr/>
          </p:nvSpPr>
          <p:spPr>
            <a:xfrm>
              <a:off x="3462377" y="4318200"/>
              <a:ext cx="1491000" cy="399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2259" tIns="82259" rIns="82259" bIns="82259" anchor="ctr" anchorCtr="0">
              <a:noAutofit/>
            </a:bodyPr>
            <a:lstStyle/>
            <a:p>
              <a:pPr algn="ctr"/>
              <a:r>
                <a:rPr lang="en-GB" sz="1080">
                  <a:latin typeface="Georgia Pro Light" panose="02040302050405020303" pitchFamily="18" charset="0"/>
                </a:rPr>
                <a:t>LuxaOS v4.00 Release covering all the functions from Nexo1 with additional features of Nexo2 </a:t>
              </a:r>
              <a:endParaRPr lang="en-US" sz="1080">
                <a:latin typeface="Georgia Pro Light" panose="02040302050405020303" pitchFamily="18" charset="0"/>
              </a:endParaRPr>
            </a:p>
          </p:txBody>
        </p:sp>
        <p:sp>
          <p:nvSpPr>
            <p:cNvPr id="53" name="Google Shape;365;p19">
              <a:extLst>
                <a:ext uri="{FF2B5EF4-FFF2-40B4-BE49-F238E27FC236}">
                  <a16:creationId xmlns:a16="http://schemas.microsoft.com/office/drawing/2014/main" id="{8CFB4DCE-27C0-4A79-AA71-7A82FE93F4D1}"/>
                </a:ext>
              </a:extLst>
            </p:cNvPr>
            <p:cNvSpPr txBox="1"/>
            <p:nvPr/>
          </p:nvSpPr>
          <p:spPr>
            <a:xfrm>
              <a:off x="5551707" y="773725"/>
              <a:ext cx="1491000" cy="399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2259" tIns="82259" rIns="82259" bIns="82259" anchor="ctr" anchorCtr="0">
              <a:noAutofit/>
            </a:bodyPr>
            <a:lstStyle/>
            <a:p>
              <a:pPr algn="ctr"/>
              <a:r>
                <a:rPr lang="en-GB" sz="1080" err="1">
                  <a:latin typeface="Georgia Pro Light" panose="02040302050405020303" pitchFamily="18" charset="0"/>
                </a:rPr>
                <a:t>LuxaStat</a:t>
              </a:r>
              <a:r>
                <a:rPr lang="en-GB" sz="1080">
                  <a:latin typeface="Georgia Pro Light" panose="02040302050405020303" pitchFamily="18" charset="0"/>
                </a:rPr>
                <a:t> v1.00 Release(not to ctrlX store)</a:t>
              </a:r>
              <a:endParaRPr lang="en-US" sz="1080">
                <a:latin typeface="Georgia Pro Light" panose="02040302050405020303" pitchFamily="18" charset="0"/>
              </a:endParaRPr>
            </a:p>
          </p:txBody>
        </p:sp>
        <p:sp>
          <p:nvSpPr>
            <p:cNvPr id="54" name="Google Shape;366;p19">
              <a:extLst>
                <a:ext uri="{FF2B5EF4-FFF2-40B4-BE49-F238E27FC236}">
                  <a16:creationId xmlns:a16="http://schemas.microsoft.com/office/drawing/2014/main" id="{55B71BB8-CDDE-4E33-A04F-57F228D6D16E}"/>
                </a:ext>
              </a:extLst>
            </p:cNvPr>
            <p:cNvSpPr txBox="1"/>
            <p:nvPr/>
          </p:nvSpPr>
          <p:spPr>
            <a:xfrm>
              <a:off x="3941421" y="3460613"/>
              <a:ext cx="1491000" cy="399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2259" tIns="82259" rIns="82259" bIns="82259" anchor="ctr" anchorCtr="0">
              <a:noAutofit/>
            </a:bodyPr>
            <a:lstStyle/>
            <a:p>
              <a:pPr algn="ctr"/>
              <a:r>
                <a:rPr lang="en-GB" sz="1080">
                  <a:latin typeface="Georgia Pro Light" panose="02040302050405020303" pitchFamily="18" charset="0"/>
                </a:rPr>
                <a:t>LuxaOS v4.00 Service Pack 2 with Angular upgrade to 19.</a:t>
              </a:r>
              <a:endParaRPr lang="en-US" sz="1080">
                <a:latin typeface="Georgia Pro Light" panose="02040302050405020303" pitchFamily="18" charset="0"/>
              </a:endParaRPr>
            </a:p>
          </p:txBody>
        </p:sp>
        <p:sp>
          <p:nvSpPr>
            <p:cNvPr id="55" name="Google Shape;367;p19">
              <a:extLst>
                <a:ext uri="{FF2B5EF4-FFF2-40B4-BE49-F238E27FC236}">
                  <a16:creationId xmlns:a16="http://schemas.microsoft.com/office/drawing/2014/main" id="{4B22BA26-F406-460F-B397-B042F3A7C074}"/>
                </a:ext>
              </a:extLst>
            </p:cNvPr>
            <p:cNvSpPr txBox="1"/>
            <p:nvPr/>
          </p:nvSpPr>
          <p:spPr>
            <a:xfrm>
              <a:off x="474389" y="3749361"/>
              <a:ext cx="1491000" cy="399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2259" tIns="82259" rIns="82259" bIns="82259" anchor="ctr" anchorCtr="0">
              <a:noAutofit/>
            </a:bodyPr>
            <a:lstStyle/>
            <a:p>
              <a:pPr algn="ctr"/>
              <a:r>
                <a:rPr lang="en-GB" sz="1080">
                  <a:latin typeface="Georgia Pro Light" panose="02040302050405020303" pitchFamily="18" charset="0"/>
                </a:rPr>
                <a:t>Nexo1 front end migration  to LuxaOS</a:t>
              </a:r>
              <a:endParaRPr lang="en-US" sz="1080">
                <a:latin typeface="Georgia Pro Light" panose="02040302050405020303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852672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utoShape 2" descr="Image result for Green smiley face">
            <a:extLst>
              <a:ext uri="{FF2B5EF4-FFF2-40B4-BE49-F238E27FC236}">
                <a16:creationId xmlns:a16="http://schemas.microsoft.com/office/drawing/2014/main" id="{8B2BBE16-F8CB-C094-5DD1-760DD8612541}"/>
              </a:ext>
            </a:extLst>
          </p:cNvPr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1526509" y="-144358"/>
            <a:ext cx="304790" cy="3047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7" tIns="45718" rIns="91437" bIns="4571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Title 1_">
            <a:extLst>
              <a:ext uri="{FF2B5EF4-FFF2-40B4-BE49-F238E27FC236}">
                <a16:creationId xmlns:a16="http://schemas.microsoft.com/office/drawing/2014/main" id="{E07EC904-5C83-4211-46F5-7AB91E62C4DF}"/>
              </a:ext>
            </a:extLst>
          </p:cNvPr>
          <p:cNvSpPr txBox="1">
            <a:spLocks/>
          </p:cNvSpPr>
          <p:nvPr/>
        </p:nvSpPr>
        <p:spPr>
          <a:xfrm>
            <a:off x="65077" y="70155"/>
            <a:ext cx="10826456" cy="551467"/>
          </a:xfrm>
          <a:prstGeom prst="rect">
            <a:avLst/>
          </a:prstGeom>
        </p:spPr>
        <p:txBody>
          <a:bodyPr vert="horz" lIns="82272" tIns="41136" rIns="82272" bIns="4113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79" b="1">
                <a:solidFill>
                  <a:srgbClr val="B61A82"/>
                </a:solidFill>
                <a:latin typeface="Bosch Office Sans" pitchFamily="2" charset="0"/>
              </a:rPr>
              <a:t>Release Road Map and Timeline - 2025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8C64B7B-6FD8-6FE3-6568-B232A6B09C4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877860" y="1685487"/>
            <a:ext cx="421320" cy="216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10" b="1"/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408565C-BABE-659D-7B43-D8D0E3CC34A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870786" y="1662019"/>
            <a:ext cx="425535" cy="216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10" b="1"/>
              <a:t> 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AA35336-AABF-4E9A-563B-404286B2890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046296" y="6231529"/>
            <a:ext cx="235956" cy="313928"/>
          </a:xfrm>
          <a:prstGeom prst="rect">
            <a:avLst/>
          </a:prstGeom>
          <a:noFill/>
        </p:spPr>
        <p:txBody>
          <a:bodyPr wrap="none" lIns="91437" tIns="45718" rIns="91437" bIns="45718">
            <a:spAutoFit/>
          </a:bodyPr>
          <a:lstStyle/>
          <a:p>
            <a:r>
              <a:rPr lang="en-US" sz="1440" b="1">
                <a:ln w="0"/>
                <a:solidFill>
                  <a:srgbClr val="C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endParaRPr lang="en-US" sz="7198">
              <a:ln w="0"/>
              <a:solidFill>
                <a:srgbClr val="C0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F99BEE69-BF33-F334-B09B-9A8A3CDC8B9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212573" y="96640"/>
            <a:ext cx="654032" cy="493295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D75895DA-008E-E1CF-BD7E-9418699C7CB6}"/>
              </a:ext>
            </a:extLst>
          </p:cNvPr>
          <p:cNvSpPr txBox="1"/>
          <p:nvPr/>
        </p:nvSpPr>
        <p:spPr>
          <a:xfrm>
            <a:off x="466886" y="2739601"/>
            <a:ext cx="5466336" cy="258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Font typeface="Wingdings" panose="05000000000000000000" pitchFamily="2" charset="2"/>
              <a:buChar char="§"/>
            </a:pPr>
            <a:endParaRPr lang="en-IN" sz="1080">
              <a:solidFill>
                <a:prstClr val="black"/>
              </a:solidFill>
              <a:ea typeface="Roboto" panose="02000000000000000000" pitchFamily="2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12A973A-B710-3980-02AC-771AF7E3D50A}"/>
              </a:ext>
            </a:extLst>
          </p:cNvPr>
          <p:cNvSpPr txBox="1"/>
          <p:nvPr/>
        </p:nvSpPr>
        <p:spPr>
          <a:xfrm>
            <a:off x="112099" y="2382871"/>
            <a:ext cx="7038634" cy="21604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tabLst/>
            </a:pP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1DAF9BA-92C6-29EA-F043-9844EB62B0BD}"/>
              </a:ext>
            </a:extLst>
          </p:cNvPr>
          <p:cNvSpPr txBox="1"/>
          <p:nvPr/>
        </p:nvSpPr>
        <p:spPr>
          <a:xfrm>
            <a:off x="3296321" y="2083630"/>
            <a:ext cx="6719133" cy="146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4B632C0-8683-C727-4D5C-E0329924C749}"/>
              </a:ext>
            </a:extLst>
          </p:cNvPr>
          <p:cNvSpPr txBox="1"/>
          <p:nvPr/>
        </p:nvSpPr>
        <p:spPr>
          <a:xfrm>
            <a:off x="7505520" y="2398622"/>
            <a:ext cx="2085474" cy="24427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tabLst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436168D-4890-E246-9C4E-43058DDB9F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2590246"/>
              </p:ext>
            </p:extLst>
          </p:nvPr>
        </p:nvGraphicFramePr>
        <p:xfrm>
          <a:off x="179848" y="772005"/>
          <a:ext cx="1126406" cy="373140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126406">
                  <a:extLst>
                    <a:ext uri="{9D8B030D-6E8A-4147-A177-3AD203B41FA5}">
                      <a16:colId xmlns:a16="http://schemas.microsoft.com/office/drawing/2014/main" val="3269364853"/>
                    </a:ext>
                  </a:extLst>
                </a:gridCol>
              </a:tblGrid>
              <a:tr h="447072">
                <a:tc>
                  <a:txBody>
                    <a:bodyPr/>
                    <a:lstStyle/>
                    <a:p>
                      <a:r>
                        <a:rPr lang="en-US" sz="1000"/>
                        <a:t>      Ap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1280850"/>
                  </a:ext>
                </a:extLst>
              </a:tr>
              <a:tr h="1094779">
                <a:tc>
                  <a:txBody>
                    <a:bodyPr/>
                    <a:lstStyle/>
                    <a:p>
                      <a:r>
                        <a:rPr lang="en-US" sz="1000"/>
                        <a:t>   LuxaO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6834168"/>
                  </a:ext>
                </a:extLst>
              </a:tr>
              <a:tr h="1094779">
                <a:tc>
                  <a:txBody>
                    <a:bodyPr/>
                    <a:lstStyle/>
                    <a:p>
                      <a:r>
                        <a:rPr lang="en-US" sz="1000"/>
                        <a:t>  LuxaStat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2004477"/>
                  </a:ext>
                </a:extLst>
              </a:tr>
              <a:tr h="1094779">
                <a:tc>
                  <a:txBody>
                    <a:bodyPr/>
                    <a:lstStyle/>
                    <a:p>
                      <a:r>
                        <a:rPr lang="en-US" sz="1000" err="1"/>
                        <a:t>LuxaConnect</a:t>
                      </a:r>
                      <a:endParaRPr lang="en-US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4387811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9107080C-FF71-EFD7-083B-608B361110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7536755"/>
              </p:ext>
            </p:extLst>
          </p:nvPr>
        </p:nvGraphicFramePr>
        <p:xfrm>
          <a:off x="1441450" y="803278"/>
          <a:ext cx="9280580" cy="37001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8200">
                  <a:extLst>
                    <a:ext uri="{9D8B030D-6E8A-4147-A177-3AD203B41FA5}">
                      <a16:colId xmlns:a16="http://schemas.microsoft.com/office/drawing/2014/main" val="2382611414"/>
                    </a:ext>
                  </a:extLst>
                </a:gridCol>
                <a:gridCol w="595900">
                  <a:extLst>
                    <a:ext uri="{9D8B030D-6E8A-4147-A177-3AD203B41FA5}">
                      <a16:colId xmlns:a16="http://schemas.microsoft.com/office/drawing/2014/main" val="3336164680"/>
                    </a:ext>
                  </a:extLst>
                </a:gridCol>
                <a:gridCol w="784648">
                  <a:extLst>
                    <a:ext uri="{9D8B030D-6E8A-4147-A177-3AD203B41FA5}">
                      <a16:colId xmlns:a16="http://schemas.microsoft.com/office/drawing/2014/main" val="3885039892"/>
                    </a:ext>
                  </a:extLst>
                </a:gridCol>
                <a:gridCol w="784648">
                  <a:extLst>
                    <a:ext uri="{9D8B030D-6E8A-4147-A177-3AD203B41FA5}">
                      <a16:colId xmlns:a16="http://schemas.microsoft.com/office/drawing/2014/main" val="998218097"/>
                    </a:ext>
                  </a:extLst>
                </a:gridCol>
                <a:gridCol w="784648">
                  <a:extLst>
                    <a:ext uri="{9D8B030D-6E8A-4147-A177-3AD203B41FA5}">
                      <a16:colId xmlns:a16="http://schemas.microsoft.com/office/drawing/2014/main" val="1933951396"/>
                    </a:ext>
                  </a:extLst>
                </a:gridCol>
                <a:gridCol w="784648">
                  <a:extLst>
                    <a:ext uri="{9D8B030D-6E8A-4147-A177-3AD203B41FA5}">
                      <a16:colId xmlns:a16="http://schemas.microsoft.com/office/drawing/2014/main" val="3619213282"/>
                    </a:ext>
                  </a:extLst>
                </a:gridCol>
                <a:gridCol w="784648">
                  <a:extLst>
                    <a:ext uri="{9D8B030D-6E8A-4147-A177-3AD203B41FA5}">
                      <a16:colId xmlns:a16="http://schemas.microsoft.com/office/drawing/2014/main" val="3176925229"/>
                    </a:ext>
                  </a:extLst>
                </a:gridCol>
                <a:gridCol w="784648">
                  <a:extLst>
                    <a:ext uri="{9D8B030D-6E8A-4147-A177-3AD203B41FA5}">
                      <a16:colId xmlns:a16="http://schemas.microsoft.com/office/drawing/2014/main" val="175357506"/>
                    </a:ext>
                  </a:extLst>
                </a:gridCol>
                <a:gridCol w="784648">
                  <a:extLst>
                    <a:ext uri="{9D8B030D-6E8A-4147-A177-3AD203B41FA5}">
                      <a16:colId xmlns:a16="http://schemas.microsoft.com/office/drawing/2014/main" val="2630218657"/>
                    </a:ext>
                  </a:extLst>
                </a:gridCol>
                <a:gridCol w="784648">
                  <a:extLst>
                    <a:ext uri="{9D8B030D-6E8A-4147-A177-3AD203B41FA5}">
                      <a16:colId xmlns:a16="http://schemas.microsoft.com/office/drawing/2014/main" val="3494061815"/>
                    </a:ext>
                  </a:extLst>
                </a:gridCol>
                <a:gridCol w="784648">
                  <a:extLst>
                    <a:ext uri="{9D8B030D-6E8A-4147-A177-3AD203B41FA5}">
                      <a16:colId xmlns:a16="http://schemas.microsoft.com/office/drawing/2014/main" val="1207889867"/>
                    </a:ext>
                  </a:extLst>
                </a:gridCol>
                <a:gridCol w="784648">
                  <a:extLst>
                    <a:ext uri="{9D8B030D-6E8A-4147-A177-3AD203B41FA5}">
                      <a16:colId xmlns:a16="http://schemas.microsoft.com/office/drawing/2014/main" val="1002236300"/>
                    </a:ext>
                  </a:extLst>
                </a:gridCol>
              </a:tblGrid>
              <a:tr h="364015">
                <a:tc>
                  <a:txBody>
                    <a:bodyPr/>
                    <a:lstStyle/>
                    <a:p>
                      <a:r>
                        <a:rPr lang="en-US"/>
                        <a:t>Jan</a:t>
                      </a:r>
                    </a:p>
                  </a:txBody>
                  <a:tcPr>
                    <a:solidFill>
                      <a:srgbClr val="00884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Feb</a:t>
                      </a:r>
                    </a:p>
                  </a:txBody>
                  <a:tcPr>
                    <a:solidFill>
                      <a:srgbClr val="00884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Mar</a:t>
                      </a:r>
                    </a:p>
                  </a:txBody>
                  <a:tcPr>
                    <a:solidFill>
                      <a:srgbClr val="00884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April</a:t>
                      </a:r>
                    </a:p>
                  </a:txBody>
                  <a:tcPr>
                    <a:solidFill>
                      <a:srgbClr val="00884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May</a:t>
                      </a:r>
                    </a:p>
                  </a:txBody>
                  <a:tcPr>
                    <a:solidFill>
                      <a:srgbClr val="00884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June</a:t>
                      </a:r>
                    </a:p>
                  </a:txBody>
                  <a:tcPr>
                    <a:solidFill>
                      <a:srgbClr val="00884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July</a:t>
                      </a:r>
                    </a:p>
                  </a:txBody>
                  <a:tcPr>
                    <a:solidFill>
                      <a:srgbClr val="00884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Aug</a:t>
                      </a:r>
                    </a:p>
                  </a:txBody>
                  <a:tcPr>
                    <a:solidFill>
                      <a:srgbClr val="00884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Sept</a:t>
                      </a:r>
                    </a:p>
                  </a:txBody>
                  <a:tcPr>
                    <a:solidFill>
                      <a:srgbClr val="00884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Oct 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Nov</a:t>
                      </a:r>
                    </a:p>
                  </a:txBody>
                  <a:tcPr>
                    <a:solidFill>
                      <a:srgbClr val="00884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Dec</a:t>
                      </a:r>
                    </a:p>
                  </a:txBody>
                  <a:tcPr>
                    <a:solidFill>
                      <a:srgbClr val="00884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5272534"/>
                  </a:ext>
                </a:extLst>
              </a:tr>
              <a:tr h="1048377">
                <a:tc gridSpan="12">
                  <a:txBody>
                    <a:bodyPr/>
                    <a:lstStyle/>
                    <a:p>
                      <a:r>
                        <a:rPr lang="en-US" sz="800"/>
                        <a:t>Angular 18                 SP2 release system test defects</a:t>
                      </a:r>
                    </a:p>
                    <a:p>
                      <a:r>
                        <a:rPr lang="en-US" sz="800"/>
                        <a:t>upgrade points           </a:t>
                      </a:r>
                      <a:r>
                        <a:rPr lang="en-US" sz="800" err="1"/>
                        <a:t>AxoControl</a:t>
                      </a:r>
                      <a:r>
                        <a:rPr lang="en-US" sz="800"/>
                        <a:t> Workshops with partner</a:t>
                      </a:r>
                    </a:p>
                    <a:p>
                      <a:r>
                        <a:rPr lang="en-US" sz="800"/>
                        <a:t>System Test                                 Spike User stories  for </a:t>
                      </a:r>
                      <a:r>
                        <a:rPr lang="en-US" sz="800" err="1"/>
                        <a:t>AxoControl</a:t>
                      </a:r>
                      <a:r>
                        <a:rPr lang="en-US" sz="800"/>
                        <a:t> UI Development  ---------------------------</a:t>
                      </a:r>
                      <a:r>
                        <a:rPr lang="en-US" sz="800">
                          <a:sym typeface="Wingdings" panose="05000000000000000000" pitchFamily="2" charset="2"/>
                        </a:rPr>
                        <a:t>--</a:t>
                      </a:r>
                      <a:r>
                        <a:rPr lang="en-US" sz="800" b="1">
                          <a:highlight>
                            <a:srgbClr val="FFFF00"/>
                          </a:highlight>
                          <a:sym typeface="Wingdings" panose="05000000000000000000" pitchFamily="2" charset="2"/>
                        </a:rPr>
                        <a:t>LuxaOS 4.01 </a:t>
                      </a:r>
                      <a:r>
                        <a:rPr lang="en-US" sz="800" b="1" err="1">
                          <a:highlight>
                            <a:srgbClr val="FFFF00"/>
                          </a:highlight>
                          <a:sym typeface="Wingdings" panose="05000000000000000000" pitchFamily="2" charset="2"/>
                        </a:rPr>
                        <a:t>integrationg</a:t>
                      </a:r>
                      <a:r>
                        <a:rPr lang="en-US" sz="800" b="1">
                          <a:highlight>
                            <a:srgbClr val="FFFF00"/>
                          </a:highlight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en-US" sz="800" b="1" err="1">
                          <a:highlight>
                            <a:srgbClr val="FFFF00"/>
                          </a:highlight>
                          <a:sym typeface="Wingdings" panose="05000000000000000000" pitchFamily="2" charset="2"/>
                        </a:rPr>
                        <a:t>Nexo</a:t>
                      </a:r>
                      <a:r>
                        <a:rPr lang="en-US" sz="800" b="1">
                          <a:highlight>
                            <a:srgbClr val="FFFF00"/>
                          </a:highlight>
                          <a:sym typeface="Wingdings" panose="05000000000000000000" pitchFamily="2" charset="2"/>
                        </a:rPr>
                        <a:t> &amp; </a:t>
                      </a:r>
                      <a:r>
                        <a:rPr lang="en-US" sz="800" b="1" err="1">
                          <a:highlight>
                            <a:srgbClr val="FFFF00"/>
                          </a:highlight>
                          <a:sym typeface="Wingdings" panose="05000000000000000000" pitchFamily="2" charset="2"/>
                        </a:rPr>
                        <a:t>Axo</a:t>
                      </a:r>
                      <a:r>
                        <a:rPr lang="en-US" sz="800" b="1">
                          <a:highlight>
                            <a:srgbClr val="FFFF00"/>
                          </a:highlight>
                          <a:sym typeface="Wingdings" panose="05000000000000000000" pitchFamily="2" charset="2"/>
                        </a:rPr>
                        <a:t> --further milestone planning coming up-</a:t>
                      </a:r>
                      <a:r>
                        <a:rPr lang="en-US" sz="800">
                          <a:sym typeface="Wingdings" panose="05000000000000000000" pitchFamily="2" charset="2"/>
                        </a:rPr>
                        <a:t>------------------------------</a:t>
                      </a:r>
                      <a:endParaRPr lang="en-US" sz="800"/>
                    </a:p>
                    <a:p>
                      <a:r>
                        <a:rPr lang="en-US" sz="800"/>
                        <a:t>Defects for SP2                                                       </a:t>
                      </a:r>
                      <a:r>
                        <a:rPr lang="en-US" sz="800" b="1">
                          <a:highlight>
                            <a:srgbClr val="FFFF00"/>
                          </a:highlight>
                        </a:rPr>
                        <a:t>LuxaOS v4.00 SP2 Release</a:t>
                      </a:r>
                    </a:p>
                    <a:p>
                      <a:r>
                        <a:rPr lang="en-US" sz="800"/>
                        <a:t>                                                                                                       System Detection  </a:t>
                      </a:r>
                    </a:p>
                    <a:p>
                      <a:r>
                        <a:rPr lang="en-US" sz="800"/>
                        <a:t>                                                                                                       Program Restructure             --------------------</a:t>
                      </a:r>
                      <a:r>
                        <a:rPr lang="en-US" sz="800" b="1" err="1">
                          <a:highlight>
                            <a:srgbClr val="FFFF00"/>
                          </a:highlight>
                        </a:rPr>
                        <a:t>LuxOS</a:t>
                      </a:r>
                      <a:r>
                        <a:rPr lang="en-US" sz="800" b="1">
                          <a:highlight>
                            <a:srgbClr val="FFFF00"/>
                          </a:highlight>
                        </a:rPr>
                        <a:t> 4.0.0 </a:t>
                      </a:r>
                      <a:r>
                        <a:rPr lang="en-US" sz="800" b="1" err="1">
                          <a:highlight>
                            <a:srgbClr val="FFFF00"/>
                          </a:highlight>
                        </a:rPr>
                        <a:t>SPx</a:t>
                      </a:r>
                      <a:r>
                        <a:rPr lang="en-US" sz="800" b="1">
                          <a:highlight>
                            <a:srgbClr val="FFFF00"/>
                          </a:highlight>
                        </a:rPr>
                        <a:t> release on need basis</a:t>
                      </a:r>
                      <a:r>
                        <a:rPr lang="en-US" sz="800">
                          <a:highlight>
                            <a:srgbClr val="FFFF00"/>
                          </a:highlight>
                        </a:rPr>
                        <a:t>-</a:t>
                      </a:r>
                      <a:r>
                        <a:rPr lang="en-US" sz="800"/>
                        <a:t>--------------------------</a:t>
                      </a:r>
                    </a:p>
                    <a:p>
                      <a:r>
                        <a:rPr lang="en-US" sz="800"/>
                        <a:t>                                                                                                       Left Navigation menu integration</a:t>
                      </a:r>
                    </a:p>
                    <a:p>
                      <a:r>
                        <a:rPr lang="en-US" sz="800"/>
                        <a:t>                                                                                                        Tabular </a:t>
                      </a:r>
                      <a:r>
                        <a:rPr lang="en-US" sz="800" err="1"/>
                        <a:t>foamat</a:t>
                      </a:r>
                      <a:r>
                        <a:rPr lang="en-US" sz="800"/>
                        <a:t> details modal pop up</a:t>
                      </a:r>
                    </a:p>
                    <a:p>
                      <a:r>
                        <a:rPr lang="en-US" sz="800"/>
                        <a:t>                                                                                      Angular 19 upgrade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010287"/>
                  </a:ext>
                </a:extLst>
              </a:tr>
              <a:tr h="1048377">
                <a:tc gridSpan="12">
                  <a:txBody>
                    <a:bodyPr/>
                    <a:lstStyle/>
                    <a:p>
                      <a:r>
                        <a:rPr lang="en-US" b="1"/>
                        <a:t> </a:t>
                      </a:r>
                      <a:r>
                        <a:rPr lang="en-US" sz="800" b="1">
                          <a:highlight>
                            <a:srgbClr val="00FF00"/>
                          </a:highlight>
                        </a:rPr>
                        <a:t>LuxaStat v1.0.0 Release        App Validation from DC-AE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0336628"/>
                  </a:ext>
                </a:extLst>
              </a:tr>
              <a:tr h="1048377">
                <a:tc gridSpan="12">
                  <a:txBody>
                    <a:bodyPr/>
                    <a:lstStyle/>
                    <a:p>
                      <a:r>
                        <a:rPr lang="en-US" sz="800"/>
                        <a:t>                           Study on existing POC of </a:t>
                      </a:r>
                      <a:r>
                        <a:rPr lang="en-US" sz="800" err="1"/>
                        <a:t>LuxaConnectivity</a:t>
                      </a:r>
                      <a:endParaRPr lang="en-US" sz="800"/>
                    </a:p>
                    <a:p>
                      <a:r>
                        <a:rPr lang="en-US" sz="800"/>
                        <a:t>                            Requirement specifications from DC-JS</a:t>
                      </a:r>
                    </a:p>
                    <a:p>
                      <a:r>
                        <a:rPr lang="en-US" sz="800"/>
                        <a:t>                                                                                     Feature </a:t>
                      </a:r>
                      <a:r>
                        <a:rPr lang="en-US" sz="800" err="1"/>
                        <a:t>desciption</a:t>
                      </a:r>
                      <a:r>
                        <a:rPr lang="en-US" sz="800"/>
                        <a:t> in Azure DevOps</a:t>
                      </a:r>
                    </a:p>
                    <a:p>
                      <a:r>
                        <a:rPr lang="en-US" sz="800"/>
                        <a:t>                                                                                          Development of MID’s</a:t>
                      </a:r>
                    </a:p>
                    <a:p>
                      <a:r>
                        <a:rPr lang="en-US" sz="800"/>
                        <a:t>                                                                                           Development of ctrlX Data Layer</a:t>
                      </a:r>
                    </a:p>
                    <a:p>
                      <a:r>
                        <a:rPr lang="en-US" sz="800"/>
                        <a:t>                         </a:t>
                      </a:r>
                    </a:p>
                    <a:p>
                      <a:r>
                        <a:rPr lang="en-US"/>
                        <a:t>                                        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5448640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E737D481-82E3-D87F-0191-D83ADB94B198}"/>
              </a:ext>
            </a:extLst>
          </p:cNvPr>
          <p:cNvSpPr txBox="1"/>
          <p:nvPr/>
        </p:nvSpPr>
        <p:spPr>
          <a:xfrm>
            <a:off x="5969316" y="2654300"/>
            <a:ext cx="1606233" cy="2585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</a:rPr>
              <a:t>LuxaStat v1.0.0 patch releas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9A341E5-220C-C089-6565-9EAEEC5360C4}"/>
              </a:ext>
            </a:extLst>
          </p:cNvPr>
          <p:cNvSpPr txBox="1"/>
          <p:nvPr/>
        </p:nvSpPr>
        <p:spPr>
          <a:xfrm>
            <a:off x="4338179" y="2654300"/>
            <a:ext cx="1276350" cy="2208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I adjustments</a:t>
            </a:r>
          </a:p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800" kern="0">
                <a:solidFill>
                  <a:srgbClr val="000000"/>
                </a:solidFill>
              </a:rPr>
              <a:t>CI Pipeline migration from </a:t>
            </a:r>
            <a:r>
              <a:rPr lang="en-US" sz="800" kern="0" err="1">
                <a:solidFill>
                  <a:srgbClr val="000000"/>
                </a:solidFill>
              </a:rPr>
              <a:t>microsoft</a:t>
            </a:r>
            <a:r>
              <a:rPr lang="en-US" sz="800" kern="0">
                <a:solidFill>
                  <a:srgbClr val="000000"/>
                </a:solidFill>
              </a:rPr>
              <a:t> agent to self                                                                                                                            hosted agent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de Refactor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73C771A-1C2B-48C7-EB46-A3A28DC03827}"/>
              </a:ext>
            </a:extLst>
          </p:cNvPr>
          <p:cNvSpPr txBox="1"/>
          <p:nvPr/>
        </p:nvSpPr>
        <p:spPr>
          <a:xfrm>
            <a:off x="9272519" y="2723298"/>
            <a:ext cx="1606233" cy="2585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</a:rPr>
              <a:t>LuxaStat v2.0.0 releas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192D231-AA23-5CA8-CFDB-8B74234E8EA1}"/>
              </a:ext>
            </a:extLst>
          </p:cNvPr>
          <p:cNvSpPr txBox="1"/>
          <p:nvPr/>
        </p:nvSpPr>
        <p:spPr>
          <a:xfrm>
            <a:off x="8298206" y="292870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4AD304F-7B54-65AD-BE53-AD50EFE20C6E}"/>
              </a:ext>
            </a:extLst>
          </p:cNvPr>
          <p:cNvSpPr txBox="1"/>
          <p:nvPr/>
        </p:nvSpPr>
        <p:spPr>
          <a:xfrm>
            <a:off x="9187973" y="2909152"/>
            <a:ext cx="1399717" cy="3523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ightening results directly from products</a:t>
            </a:r>
          </a:p>
        </p:txBody>
      </p:sp>
    </p:spTree>
    <p:extLst>
      <p:ext uri="{BB962C8B-B14F-4D97-AF65-F5344CB8AC3E}">
        <p14:creationId xmlns:p14="http://schemas.microsoft.com/office/powerpoint/2010/main" val="23605738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BE69FF-F1E4-4A3D-8B00-0ABF8458FD2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05200" y="194400"/>
            <a:ext cx="10558800" cy="388800"/>
          </a:xfrm>
        </p:spPr>
        <p:txBody>
          <a:bodyPr/>
          <a:lstStyle/>
          <a:p>
            <a:r>
              <a:rPr lang="en-IN">
                <a:solidFill>
                  <a:srgbClr val="CC0099"/>
                </a:solidFill>
              </a:rPr>
              <a:t>Team Composition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9A1D6D-B89C-495D-945F-289A33D509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563841" y="5666400"/>
            <a:ext cx="288290" cy="410210"/>
          </a:xfr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898AEC0-503E-4FA4-859C-D0F72D6E3F79}" type="slidenum">
              <a:rPr kumimoji="0" lang="en-US" sz="1200" b="0" i="0" u="none" strike="noStrike" kern="1200" cap="none" spc="0" normalizeH="0" baseline="0" noProof="1" smtClean="0">
                <a:ln>
                  <a:noFill/>
                </a:ln>
                <a:solidFill>
                  <a:srgbClr val="999FA6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1">
              <a:ln>
                <a:noFill/>
              </a:ln>
              <a:solidFill>
                <a:srgbClr val="999FA6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37812AE-43C5-4D44-80A9-7E878FAAFC59}"/>
              </a:ext>
            </a:extLst>
          </p:cNvPr>
          <p:cNvSpPr/>
          <p:nvPr/>
        </p:nvSpPr>
        <p:spPr>
          <a:xfrm>
            <a:off x="6898999" y="712079"/>
            <a:ext cx="3615439" cy="70788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u="sng" kern="0">
              <a:solidFill>
                <a:srgbClr val="00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>
              <a:latin typeface="Arial" panose="020B0604020202020204" pitchFamily="34" charset="0"/>
            </a:endParaRPr>
          </a:p>
        </p:txBody>
      </p:sp>
      <p:sp>
        <p:nvSpPr>
          <p:cNvPr id="7" name="Rectangle 71___">
            <a:extLst>
              <a:ext uri="{FF2B5EF4-FFF2-40B4-BE49-F238E27FC236}">
                <a16:creationId xmlns:a16="http://schemas.microsoft.com/office/drawing/2014/main" id="{4995B599-B9AF-06C3-B646-44E542AEFF4C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0689" y="2145712"/>
            <a:ext cx="132778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800" b="1">
                <a:ea typeface="Arial Unicode MS" pitchFamily="34" charset="-128"/>
              </a:rPr>
              <a:t>       D</a:t>
            </a:r>
            <a:r>
              <a:rPr lang="en-GB" sz="800" b="1" err="1">
                <a:ea typeface="Arial Unicode MS" pitchFamily="34" charset="-128"/>
              </a:rPr>
              <a:t>hruv</a:t>
            </a:r>
            <a:r>
              <a:rPr lang="en-GB" sz="800" b="1">
                <a:ea typeface="Arial Unicode MS" pitchFamily="34" charset="-128"/>
              </a:rPr>
              <a:t> Kalia </a:t>
            </a:r>
          </a:p>
          <a:p>
            <a:r>
              <a:rPr lang="en-GB" sz="800" b="1">
                <a:ea typeface="Arial Unicode MS" pitchFamily="34" charset="-128"/>
                <a:cs typeface="Arial Unicode MS" pitchFamily="34" charset="-128"/>
              </a:rPr>
              <a:t>     Product Owner</a:t>
            </a:r>
          </a:p>
        </p:txBody>
      </p:sp>
      <p:sp>
        <p:nvSpPr>
          <p:cNvPr id="17" name="Rectangle 71___">
            <a:extLst>
              <a:ext uri="{FF2B5EF4-FFF2-40B4-BE49-F238E27FC236}">
                <a16:creationId xmlns:a16="http://schemas.microsoft.com/office/drawing/2014/main" id="{CD9ED14B-007F-56D7-C00D-A198EF86E262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364500" y="2243250"/>
            <a:ext cx="94622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GB" sz="800" b="1">
                <a:ea typeface="Arial Unicode MS" pitchFamily="34" charset="-128"/>
                <a:cs typeface="Arial Unicode MS" pitchFamily="34" charset="-128"/>
              </a:rPr>
              <a:t>Sathyavathi</a:t>
            </a:r>
          </a:p>
          <a:p>
            <a:r>
              <a:rPr lang="en-GB" sz="800" b="1">
                <a:ea typeface="Arial Unicode MS" pitchFamily="34" charset="-128"/>
                <a:cs typeface="Arial Unicode MS" pitchFamily="34" charset="-128"/>
              </a:rPr>
              <a:t>Developer</a:t>
            </a:r>
          </a:p>
        </p:txBody>
      </p:sp>
      <p:sp>
        <p:nvSpPr>
          <p:cNvPr id="20" name="Rectangle 71___">
            <a:extLst>
              <a:ext uri="{FF2B5EF4-FFF2-40B4-BE49-F238E27FC236}">
                <a16:creationId xmlns:a16="http://schemas.microsoft.com/office/drawing/2014/main" id="{DC4E9AB6-9CA2-BD3D-44F6-A1173365BF48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991047" y="2302743"/>
            <a:ext cx="115464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800" b="1"/>
              <a:t>         Gurudath    </a:t>
            </a:r>
          </a:p>
          <a:p>
            <a:r>
              <a:rPr lang="en-US" sz="800" b="1"/>
              <a:t>        Developer</a:t>
            </a:r>
            <a:endParaRPr lang="en-GB" sz="800" b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40BFEFB-88EB-32B8-DC95-3CE8983AC905}"/>
              </a:ext>
            </a:extLst>
          </p:cNvPr>
          <p:cNvSpPr txBox="1"/>
          <p:nvPr/>
        </p:nvSpPr>
        <p:spPr>
          <a:xfrm>
            <a:off x="3850475" y="1410593"/>
            <a:ext cx="175720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1"/>
              <a:t>         </a:t>
            </a:r>
            <a:endParaRPr lang="en-US" sz="800" b="1">
              <a:ea typeface="Arial Unicode MS" pitchFamily="34" charset="-128"/>
            </a:endParaRPr>
          </a:p>
        </p:txBody>
      </p:sp>
      <p:sp>
        <p:nvSpPr>
          <p:cNvPr id="26" name="Rectangle 71___">
            <a:extLst>
              <a:ext uri="{FF2B5EF4-FFF2-40B4-BE49-F238E27FC236}">
                <a16:creationId xmlns:a16="http://schemas.microsoft.com/office/drawing/2014/main" id="{6500017B-22DA-58FB-E91A-B2D2B67073F6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816199" y="2250376"/>
            <a:ext cx="101897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800" b="1"/>
              <a:t>      Rohit</a:t>
            </a:r>
          </a:p>
          <a:p>
            <a:r>
              <a:rPr lang="en-US" sz="800" b="1">
                <a:ea typeface="Arial Unicode MS" pitchFamily="34" charset="-128"/>
                <a:cs typeface="Arial Unicode MS" pitchFamily="34" charset="-128"/>
              </a:rPr>
              <a:t>  Developer </a:t>
            </a:r>
            <a:endParaRPr lang="en-GB" sz="800" b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29E5831-AEC4-FA29-3B98-1D593E4873A0}"/>
              </a:ext>
            </a:extLst>
          </p:cNvPr>
          <p:cNvSpPr txBox="1"/>
          <p:nvPr/>
        </p:nvSpPr>
        <p:spPr>
          <a:xfrm>
            <a:off x="2908690" y="3650028"/>
            <a:ext cx="1154644" cy="49244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     </a:t>
            </a:r>
            <a:r>
              <a:rPr lang="en-US" sz="800" b="1">
                <a:ea typeface="Arial Unicode MS" pitchFamily="34" charset="-128"/>
              </a:rPr>
              <a:t>Samita </a:t>
            </a:r>
          </a:p>
          <a:p>
            <a:pPr marR="0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800" b="1">
                <a:ea typeface="Arial Unicode MS" pitchFamily="34" charset="-128"/>
              </a:rPr>
              <a:t>          Project Manager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362D7A4-060B-1ACE-F2BB-4DB08323912F}"/>
              </a:ext>
            </a:extLst>
          </p:cNvPr>
          <p:cNvSpPr txBox="1"/>
          <p:nvPr/>
        </p:nvSpPr>
        <p:spPr>
          <a:xfrm>
            <a:off x="5260510" y="1539945"/>
            <a:ext cx="1071317" cy="38522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R="0" algn="just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800" b="1"/>
              <a:t>       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EC500A5-76BD-2380-0A43-731593B7A25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4748" y="1118051"/>
            <a:ext cx="833765" cy="996713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DCE46E1-A2DF-B4D1-5444-9A638175308B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3057459" y="2659289"/>
            <a:ext cx="833765" cy="985534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35B12CE0-3F01-28E1-2774-879E3EA703F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401729" y="1126809"/>
            <a:ext cx="803264" cy="1047024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DC6BA134-8490-CCE1-343E-BF2A8F9D4F6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650528" y="1178921"/>
            <a:ext cx="990520" cy="994912"/>
          </a:xfrm>
          <a:prstGeom prst="rect">
            <a:avLst/>
          </a:prstGeom>
        </p:spPr>
      </p:pic>
      <p:sp>
        <p:nvSpPr>
          <p:cNvPr id="22" name="Rectangle 71___">
            <a:extLst>
              <a:ext uri="{FF2B5EF4-FFF2-40B4-BE49-F238E27FC236}">
                <a16:creationId xmlns:a16="http://schemas.microsoft.com/office/drawing/2014/main" id="{C1B795A4-888F-F2BA-25BB-A69F3B726C40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-194399" y="4289995"/>
            <a:ext cx="145097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800" b="1"/>
              <a:t>Vaishnavi</a:t>
            </a:r>
          </a:p>
          <a:p>
            <a:pPr algn="ctr"/>
            <a:r>
              <a:rPr lang="en-US" sz="800" b="1"/>
              <a:t>Developer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C86806B-D07A-7829-53B0-1B0587F08A10}"/>
              </a:ext>
            </a:extLst>
          </p:cNvPr>
          <p:cNvSpPr txBox="1"/>
          <p:nvPr/>
        </p:nvSpPr>
        <p:spPr>
          <a:xfrm>
            <a:off x="205200" y="632098"/>
            <a:ext cx="4812208" cy="5228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uxaOS &amp;LuxaMatrix Development Team </a:t>
            </a:r>
            <a:endParaRPr kumimoji="0" lang="en-IN" sz="1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F6E5E33-93FF-F13C-CB67-5C72CF596106}"/>
              </a:ext>
            </a:extLst>
          </p:cNvPr>
          <p:cNvSpPr txBox="1"/>
          <p:nvPr/>
        </p:nvSpPr>
        <p:spPr>
          <a:xfrm>
            <a:off x="123943" y="2819461"/>
            <a:ext cx="3880608" cy="4811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uxaMatrix App</a:t>
            </a:r>
            <a:endParaRPr kumimoji="0" lang="en-IN" sz="1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E57111C-FD93-20AD-5B68-C9E9EEA3A12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068" y="3236954"/>
            <a:ext cx="673881" cy="97485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D08CC525-8489-8274-FC07-70E3A2FCF538}"/>
              </a:ext>
            </a:extLst>
          </p:cNvPr>
          <p:cNvSpPr txBox="1"/>
          <p:nvPr/>
        </p:nvSpPr>
        <p:spPr>
          <a:xfrm>
            <a:off x="354074" y="4812314"/>
            <a:ext cx="833765" cy="457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9DFCF89-70A2-4ACF-C0C5-458F3D1636D1}"/>
              </a:ext>
            </a:extLst>
          </p:cNvPr>
          <p:cNvSpPr txBox="1"/>
          <p:nvPr/>
        </p:nvSpPr>
        <p:spPr>
          <a:xfrm>
            <a:off x="5880657" y="2363573"/>
            <a:ext cx="1442494" cy="1206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EB8FEB1-71B5-5EA3-399B-7658A610DDF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057929" y="1154228"/>
            <a:ext cx="995128" cy="1108112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D1F7A961-9D44-ABBE-62DF-A5451646D6FC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149107" y="2659289"/>
            <a:ext cx="967164" cy="936091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0E86ECC2-D043-9BB5-5AB7-EC1127722F94}"/>
              </a:ext>
            </a:extLst>
          </p:cNvPr>
          <p:cNvSpPr txBox="1"/>
          <p:nvPr/>
        </p:nvSpPr>
        <p:spPr>
          <a:xfrm>
            <a:off x="9861331" y="2195777"/>
            <a:ext cx="804041" cy="2884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1AE1FBB-4AD1-8F5F-666F-4238414CBECA}"/>
              </a:ext>
            </a:extLst>
          </p:cNvPr>
          <p:cNvSpPr txBox="1"/>
          <p:nvPr/>
        </p:nvSpPr>
        <p:spPr>
          <a:xfrm>
            <a:off x="4330188" y="3678730"/>
            <a:ext cx="1442494" cy="6206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atya</a:t>
            </a:r>
          </a:p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800" b="1" kern="0">
                <a:solidFill>
                  <a:srgbClr val="000000"/>
                </a:solidFill>
              </a:rPr>
              <a:t>CI-CT Architect</a:t>
            </a: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F425F95-AF59-B621-FBD6-58181B949060}"/>
              </a:ext>
            </a:extLst>
          </p:cNvPr>
          <p:cNvSpPr txBox="1"/>
          <p:nvPr/>
        </p:nvSpPr>
        <p:spPr>
          <a:xfrm>
            <a:off x="5436325" y="3626383"/>
            <a:ext cx="127100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ariq Ahmed</a:t>
            </a:r>
          </a:p>
          <a:p>
            <a:r>
              <a:rPr lang="en-US" sz="800" b="1" kern="0">
                <a:solidFill>
                  <a:srgbClr val="000000"/>
                </a:solidFill>
              </a:rPr>
              <a:t>   Architect</a:t>
            </a: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04D9FF2-F4F5-A93E-2CAE-1E80D4CAA921}"/>
              </a:ext>
            </a:extLst>
          </p:cNvPr>
          <p:cNvSpPr txBox="1"/>
          <p:nvPr/>
        </p:nvSpPr>
        <p:spPr>
          <a:xfrm>
            <a:off x="8115160" y="2299706"/>
            <a:ext cx="767119" cy="15437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9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B0B9866-C0F7-139C-5C0B-312F2BDD8E2B}"/>
              </a:ext>
            </a:extLst>
          </p:cNvPr>
          <p:cNvSpPr txBox="1"/>
          <p:nvPr/>
        </p:nvSpPr>
        <p:spPr>
          <a:xfrm>
            <a:off x="5368445" y="2267674"/>
            <a:ext cx="1069281" cy="47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800" b="1" kern="0">
                <a:solidFill>
                  <a:srgbClr val="000000"/>
                </a:solidFill>
              </a:rPr>
              <a:t>Harshavardhan VS</a:t>
            </a: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800" b="1" kern="0">
                <a:solidFill>
                  <a:srgbClr val="000000"/>
                </a:solidFill>
              </a:rPr>
              <a:t>Developer</a:t>
            </a: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507C81C-8385-F18E-938C-FFFAC6A14624}"/>
              </a:ext>
            </a:extLst>
          </p:cNvPr>
          <p:cNvSpPr txBox="1"/>
          <p:nvPr/>
        </p:nvSpPr>
        <p:spPr>
          <a:xfrm>
            <a:off x="7913485" y="2534331"/>
            <a:ext cx="45719" cy="1494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AE86BD6-35EA-EBF6-0570-4FC62AD89602}"/>
              </a:ext>
            </a:extLst>
          </p:cNvPr>
          <p:cNvSpPr txBox="1"/>
          <p:nvPr/>
        </p:nvSpPr>
        <p:spPr>
          <a:xfrm>
            <a:off x="8670651" y="4082143"/>
            <a:ext cx="1337976" cy="457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9B272E4-911C-6092-7197-8CEBD745E439}"/>
              </a:ext>
            </a:extLst>
          </p:cNvPr>
          <p:cNvSpPr txBox="1"/>
          <p:nvPr/>
        </p:nvSpPr>
        <p:spPr>
          <a:xfrm>
            <a:off x="5238256" y="5319174"/>
            <a:ext cx="993823" cy="3024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50E6D0CE-986F-11AA-1525-7D850E6C5EEA}"/>
              </a:ext>
            </a:extLst>
          </p:cNvPr>
          <p:cNvSpPr txBox="1"/>
          <p:nvPr/>
        </p:nvSpPr>
        <p:spPr>
          <a:xfrm>
            <a:off x="6631420" y="5341158"/>
            <a:ext cx="941157" cy="2347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4FBC3C5-EDD1-AED6-5C60-08DD8085B9D9}"/>
              </a:ext>
            </a:extLst>
          </p:cNvPr>
          <p:cNvSpPr txBox="1"/>
          <p:nvPr/>
        </p:nvSpPr>
        <p:spPr>
          <a:xfrm>
            <a:off x="7126439" y="590492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2E48B3F4-C9B2-FFD2-DC66-5A83233F98E2}"/>
              </a:ext>
            </a:extLst>
          </p:cNvPr>
          <p:cNvSpPr txBox="1"/>
          <p:nvPr/>
        </p:nvSpPr>
        <p:spPr>
          <a:xfrm>
            <a:off x="6395915" y="5612573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2A020FF-4605-6134-06F6-DAE28F4791B1}"/>
              </a:ext>
            </a:extLst>
          </p:cNvPr>
          <p:cNvSpPr txBox="1"/>
          <p:nvPr/>
        </p:nvSpPr>
        <p:spPr>
          <a:xfrm>
            <a:off x="7881919" y="5350497"/>
            <a:ext cx="930175" cy="2254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28A8DE9-0E84-0ADA-A5B4-89E7E275D8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4277" y="2663470"/>
            <a:ext cx="1220951" cy="899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EB856B5-E5C0-095C-9C7B-B1C179010FFB}"/>
              </a:ext>
            </a:extLst>
          </p:cNvPr>
          <p:cNvSpPr txBox="1"/>
          <p:nvPr/>
        </p:nvSpPr>
        <p:spPr>
          <a:xfrm>
            <a:off x="8442764" y="3860101"/>
            <a:ext cx="930175" cy="3353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900" b="1" kern="0">
              <a:solidFill>
                <a:srgbClr val="000000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34C5CE7-D048-BE9B-9CD1-5D31CEF920B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552830" y="4141675"/>
            <a:ext cx="758324" cy="1004220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5CE43DEF-82AD-C2E4-FC40-EBDE85FB7D60}"/>
              </a:ext>
            </a:extLst>
          </p:cNvPr>
          <p:cNvSpPr txBox="1"/>
          <p:nvPr/>
        </p:nvSpPr>
        <p:spPr>
          <a:xfrm>
            <a:off x="5607675" y="5105401"/>
            <a:ext cx="83777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1"/>
              <a:t>Jayanth B 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E0791F0D-81D7-4C0F-CFDB-B3DCCF27945D}"/>
              </a:ext>
            </a:extLst>
          </p:cNvPr>
          <p:cNvSpPr txBox="1"/>
          <p:nvPr/>
        </p:nvSpPr>
        <p:spPr>
          <a:xfrm>
            <a:off x="5810844" y="5350497"/>
            <a:ext cx="454661" cy="1282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PQ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D1372F13-D677-A72D-BA84-0F5A32D7E8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8256" y="1153313"/>
            <a:ext cx="838477" cy="1048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5AAFDC3-FB75-6E23-1829-BF014A0A7C74}"/>
              </a:ext>
            </a:extLst>
          </p:cNvPr>
          <p:cNvCxnSpPr/>
          <p:nvPr/>
        </p:nvCxnSpPr>
        <p:spPr>
          <a:xfrm>
            <a:off x="6437797" y="137894"/>
            <a:ext cx="41811" cy="55746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67D5421F-803B-FE0F-ACBB-44A15B997DD7}"/>
              </a:ext>
            </a:extLst>
          </p:cNvPr>
          <p:cNvSpPr txBox="1"/>
          <p:nvPr/>
        </p:nvSpPr>
        <p:spPr>
          <a:xfrm>
            <a:off x="6898999" y="194400"/>
            <a:ext cx="2962332" cy="388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ctr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CC0099"/>
                </a:solidFill>
                <a:effectLst/>
                <a:uLnTx/>
                <a:uFillTx/>
              </a:rPr>
              <a:t>LuxaOS LuxaMatrix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A089D18-EE42-667B-7401-6E40DE417134}"/>
              </a:ext>
            </a:extLst>
          </p:cNvPr>
          <p:cNvSpPr txBox="1"/>
          <p:nvPr/>
        </p:nvSpPr>
        <p:spPr>
          <a:xfrm>
            <a:off x="6524298" y="523227"/>
            <a:ext cx="5490754" cy="21698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2060"/>
                </a:solidFill>
                <a:effectLst/>
                <a:latin typeface="Tahoma" panose="020B0604030504040204" pitchFamily="34" charset="0"/>
              </a:rPr>
              <a:t>Bosch Rexroth in Murrhardt is supplier of various device</a:t>
            </a:r>
            <a:endParaRPr lang="en-US" sz="900">
              <a:solidFill>
                <a:srgbClr val="002060"/>
              </a:solidFill>
              <a:latin typeface="Tahoma" panose="020B0604030504040204" pitchFamily="34" charset="0"/>
            </a:endParaRPr>
          </a:p>
          <a:p>
            <a:r>
              <a:rPr lang="en-US" sz="900">
                <a:solidFill>
                  <a:srgbClr val="002060"/>
                </a:solidFill>
                <a:effectLst/>
                <a:latin typeface="Tahoma" panose="020B0604030504040204" pitchFamily="34" charset="0"/>
              </a:rPr>
              <a:t> types of industrial nutrunner in stationary or handheld forms</a:t>
            </a:r>
          </a:p>
          <a:p>
            <a:endParaRPr lang="en-US" sz="900">
              <a:solidFill>
                <a:srgbClr val="002060"/>
              </a:solidFill>
              <a:effectLst/>
              <a:latin typeface="Tahom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2060"/>
                </a:solidFill>
                <a:effectLst/>
                <a:latin typeface="Tahoma" panose="020B0604030504040204" pitchFamily="34" charset="0"/>
              </a:rPr>
              <a:t>LuxaOS Focuses on developing the next generation of </a:t>
            </a:r>
          </a:p>
          <a:p>
            <a:r>
              <a:rPr lang="en-US" sz="900">
                <a:solidFill>
                  <a:srgbClr val="002060"/>
                </a:solidFill>
                <a:effectLst/>
                <a:latin typeface="Tahoma" panose="020B0604030504040204" pitchFamily="34" charset="0"/>
              </a:rPr>
              <a:t> tightening systems after Nexo1 </a:t>
            </a:r>
            <a:endParaRPr lang="en-US" sz="900">
              <a:solidFill>
                <a:srgbClr val="002060"/>
              </a:solidFill>
              <a:latin typeface="Tahoma" panose="020B0604030504040204" pitchFamily="34" charset="0"/>
            </a:endParaRPr>
          </a:p>
          <a:p>
            <a:endParaRPr lang="en-US" sz="900">
              <a:solidFill>
                <a:srgbClr val="002060"/>
              </a:solidFill>
              <a:effectLst/>
              <a:latin typeface="Tahom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2060"/>
                </a:solidFill>
                <a:effectLst/>
                <a:latin typeface="Tahoma" panose="020B0604030504040204" pitchFamily="34" charset="0"/>
              </a:rPr>
              <a:t>Scope of BGSW is to develop a web-based GUI that </a:t>
            </a:r>
          </a:p>
          <a:p>
            <a:r>
              <a:rPr lang="en-US" sz="900">
                <a:solidFill>
                  <a:srgbClr val="002060"/>
                </a:solidFill>
                <a:effectLst/>
                <a:latin typeface="Tahoma" panose="020B0604030504040204" pitchFamily="34" charset="0"/>
              </a:rPr>
              <a:t>Can be deployed in the stationary system too. So, at the end </a:t>
            </a:r>
          </a:p>
          <a:p>
            <a:r>
              <a:rPr lang="en-US" sz="900">
                <a:solidFill>
                  <a:srgbClr val="002060"/>
                </a:solidFill>
                <a:effectLst/>
                <a:latin typeface="Tahoma" panose="020B0604030504040204" pitchFamily="34" charset="0"/>
              </a:rPr>
              <a:t>we have only one GUI for the complete portfolio</a:t>
            </a:r>
          </a:p>
          <a:p>
            <a:endParaRPr lang="en-US" sz="900">
              <a:solidFill>
                <a:srgbClr val="002060"/>
              </a:solidFill>
              <a:latin typeface="Tahom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2060"/>
                </a:solidFill>
                <a:effectLst/>
                <a:latin typeface="Tahoma" panose="020B0604030504040204" pitchFamily="34" charset="0"/>
              </a:rPr>
              <a:t>The tightening platform also known as joining platform, is</a:t>
            </a:r>
          </a:p>
          <a:p>
            <a:r>
              <a:rPr lang="en-US" sz="900">
                <a:solidFill>
                  <a:srgbClr val="002060"/>
                </a:solidFill>
                <a:effectLst/>
                <a:latin typeface="Tahoma" panose="020B0604030504040204" pitchFamily="34" charset="0"/>
              </a:rPr>
              <a:t> an application system based on ctrlX Automation.</a:t>
            </a:r>
          </a:p>
          <a:p>
            <a:r>
              <a:rPr lang="en-US" sz="900">
                <a:solidFill>
                  <a:srgbClr val="002060"/>
                </a:solidFill>
                <a:effectLst/>
                <a:latin typeface="Tahoma" panose="020B0604030504040204" pitchFamily="34" charset="0"/>
              </a:rPr>
              <a:t> In particular, joining-specific apps are deployed on a </a:t>
            </a:r>
          </a:p>
          <a:p>
            <a:r>
              <a:rPr lang="en-US" sz="900">
                <a:solidFill>
                  <a:srgbClr val="002060"/>
                </a:solidFill>
                <a:effectLst/>
                <a:latin typeface="Tahoma" panose="020B0604030504040204" pitchFamily="34" charset="0"/>
              </a:rPr>
              <a:t>ctrlX-based platform. The joining-specific apps provide further </a:t>
            </a:r>
          </a:p>
          <a:p>
            <a:r>
              <a:rPr lang="en-US" sz="900">
                <a:solidFill>
                  <a:srgbClr val="002060"/>
                </a:solidFill>
                <a:effectLst/>
                <a:latin typeface="Tahoma" panose="020B0604030504040204" pitchFamily="34" charset="0"/>
              </a:rPr>
              <a:t>benefit to customers, in addition to existing portfolio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057F14B-098E-2003-893B-91A1128256C6}"/>
              </a:ext>
            </a:extLst>
          </p:cNvPr>
          <p:cNvSpPr txBox="1"/>
          <p:nvPr/>
        </p:nvSpPr>
        <p:spPr>
          <a:xfrm>
            <a:off x="6598621" y="2738771"/>
            <a:ext cx="2500925" cy="3366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echnologies</a:t>
            </a: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: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A3C7999-34AA-1278-F179-EB85D86FB73E}"/>
              </a:ext>
            </a:extLst>
          </p:cNvPr>
          <p:cNvSpPr txBox="1"/>
          <p:nvPr/>
        </p:nvSpPr>
        <p:spPr>
          <a:xfrm>
            <a:off x="6749211" y="4127862"/>
            <a:ext cx="2623728" cy="143440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tabLst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7" name="Flowchart: Card 26">
            <a:extLst>
              <a:ext uri="{FF2B5EF4-FFF2-40B4-BE49-F238E27FC236}">
                <a16:creationId xmlns:a16="http://schemas.microsoft.com/office/drawing/2014/main" id="{7CA37266-D7F5-2D6B-A42F-C7D418E13F52}"/>
              </a:ext>
            </a:extLst>
          </p:cNvPr>
          <p:cNvSpPr/>
          <p:nvPr/>
        </p:nvSpPr>
        <p:spPr>
          <a:xfrm>
            <a:off x="6913047" y="3021879"/>
            <a:ext cx="3095580" cy="2226674"/>
          </a:xfrm>
          <a:prstGeom prst="flowChartPunchedCard">
            <a:avLst/>
          </a:prstGeom>
          <a:solidFill>
            <a:srgbClr val="9E2896"/>
          </a:solidFill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marL="171450" indent="-171450" fontAlgn="auto"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650" kern="0">
                <a:solidFill>
                  <a:schemeClr val="bg1"/>
                </a:solidFill>
              </a:rPr>
              <a:t>    Angular 20+,HTML,CSS,ReactJS</a:t>
            </a: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650" kern="0">
                <a:solidFill>
                  <a:schemeClr val="bg1"/>
                </a:solidFill>
              </a:rPr>
              <a:t>NodeJS</a:t>
            </a: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650" kern="0">
                <a:solidFill>
                  <a:schemeClr val="bg1"/>
                </a:solidFill>
              </a:rPr>
              <a:t>Python</a:t>
            </a: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650" kern="0">
                <a:solidFill>
                  <a:schemeClr val="bg1"/>
                </a:solidFill>
              </a:rPr>
              <a:t>C#,.NET Core</a:t>
            </a: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650" kern="0">
                <a:solidFill>
                  <a:schemeClr val="bg1"/>
                </a:solidFill>
              </a:rPr>
              <a:t>REST Framework</a:t>
            </a: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650" kern="0">
                <a:solidFill>
                  <a:schemeClr val="bg1"/>
                </a:solidFill>
              </a:rPr>
              <a:t>Robot Framework</a:t>
            </a: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650" kern="0">
                <a:solidFill>
                  <a:schemeClr val="bg1"/>
                </a:solidFill>
              </a:rPr>
              <a:t>Azure DevOps – Continuous integration with automated build pipelines</a:t>
            </a:r>
          </a:p>
          <a:p>
            <a:pPr marL="285750" indent="-285750" fontAlgn="auto">
              <a:spcBef>
                <a:spcPts val="50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650" kern="0">
                <a:solidFill>
                  <a:schemeClr val="bg1"/>
                </a:solidFill>
              </a:rPr>
              <a:t>Docker</a:t>
            </a:r>
          </a:p>
          <a:p>
            <a:pPr fontAlgn="auto">
              <a:spcBef>
                <a:spcPts val="500"/>
              </a:spcBef>
              <a:spcAft>
                <a:spcPts val="0"/>
              </a:spcAft>
            </a:pPr>
            <a:endParaRPr lang="en-US" sz="650" kern="0">
              <a:solidFill>
                <a:schemeClr val="bg1"/>
              </a:solidFill>
            </a:endParaRPr>
          </a:p>
        </p:txBody>
      </p:sp>
      <p:pic>
        <p:nvPicPr>
          <p:cNvPr id="32" name="Picture 2">
            <a:extLst>
              <a:ext uri="{FF2B5EF4-FFF2-40B4-BE49-F238E27FC236}">
                <a16:creationId xmlns:a16="http://schemas.microsoft.com/office/drawing/2014/main" id="{FBF659A6-2E88-27AF-4307-1783548D3F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8041" y="4221644"/>
            <a:ext cx="682349" cy="877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ACB04198-C79E-B29F-5848-C06762F50185}"/>
              </a:ext>
            </a:extLst>
          </p:cNvPr>
          <p:cNvSpPr txBox="1"/>
          <p:nvPr/>
        </p:nvSpPr>
        <p:spPr>
          <a:xfrm>
            <a:off x="2792328" y="5135509"/>
            <a:ext cx="1616658" cy="4026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algn="ctr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800" b="1"/>
              <a:t>Yash</a:t>
            </a:r>
          </a:p>
          <a:p>
            <a:pPr marR="0" algn="ctr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800" b="1"/>
              <a:t>Apprentice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41BDFFC7-853A-193C-09E3-F8A3AEDDB27F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300610" y="4221644"/>
            <a:ext cx="662595" cy="842591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B147570C-1246-F64B-8E81-95D6C59ABFBD}"/>
              </a:ext>
            </a:extLst>
          </p:cNvPr>
          <p:cNvSpPr txBox="1"/>
          <p:nvPr/>
        </p:nvSpPr>
        <p:spPr>
          <a:xfrm>
            <a:off x="1821853" y="5117837"/>
            <a:ext cx="1616658" cy="4026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algn="ctr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800" b="1"/>
              <a:t>Karthik</a:t>
            </a:r>
          </a:p>
          <a:p>
            <a:pPr marR="0" algn="ctr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800" b="1"/>
              <a:t>Apprentice</a:t>
            </a:r>
          </a:p>
        </p:txBody>
      </p:sp>
    </p:spTree>
    <p:extLst>
      <p:ext uri="{BB962C8B-B14F-4D97-AF65-F5344CB8AC3E}">
        <p14:creationId xmlns:p14="http://schemas.microsoft.com/office/powerpoint/2010/main" val="33974346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CD1D64-EFB3-425C-ACF0-CB3024296A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9200" y="259200"/>
            <a:ext cx="3952755" cy="3888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IN" kern="1200" spc="-55">
                <a:solidFill>
                  <a:srgbClr val="BC0F79"/>
                </a:solidFill>
                <a:latin typeface="Bosch Sans Bold"/>
                <a:cs typeface="Arial"/>
              </a:rPr>
              <a:t>Our Business Partners</a:t>
            </a:r>
            <a:endParaRPr lang="en-US" kern="1200" spc="-55">
              <a:solidFill>
                <a:srgbClr val="BC0F79"/>
              </a:solidFill>
              <a:latin typeface="Bosch Sans Bold" panose="020B0704020202020204" pitchFamily="34" charset="0"/>
              <a:cs typeface="Arial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A000E14-E87D-408E-A51C-9E26C60703B9}"/>
              </a:ext>
            </a:extLst>
          </p:cNvPr>
          <p:cNvGrpSpPr/>
          <p:nvPr/>
        </p:nvGrpSpPr>
        <p:grpSpPr>
          <a:xfrm>
            <a:off x="267399" y="227088"/>
            <a:ext cx="10442601" cy="421106"/>
            <a:chOff x="267399" y="227088"/>
            <a:chExt cx="10442601" cy="421106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22421102-D78C-4ACF-9785-55F4FDBF129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7399" y="648194"/>
              <a:ext cx="9920354" cy="0"/>
            </a:xfrm>
            <a:prstGeom prst="line">
              <a:avLst/>
            </a:prstGeom>
            <a:ln w="19050">
              <a:solidFill>
                <a:srgbClr val="BD0F7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1149051-7275-48EF-BC87-9B6393555CB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371" t="3680" r="2373" b="90019"/>
            <a:stretch/>
          </p:blipFill>
          <p:spPr>
            <a:xfrm>
              <a:off x="10244221" y="227088"/>
              <a:ext cx="465779" cy="388801"/>
            </a:xfrm>
            <a:prstGeom prst="rect">
              <a:avLst/>
            </a:prstGeom>
          </p:spPr>
        </p:pic>
      </p:grp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CFF6A77A-2330-4BC5-90C2-95FB0E414515}"/>
              </a:ext>
            </a:extLst>
          </p:cNvPr>
          <p:cNvSpPr txBox="1">
            <a:spLocks/>
          </p:cNvSpPr>
          <p:nvPr/>
        </p:nvSpPr>
        <p:spPr>
          <a:xfrm>
            <a:off x="256025" y="1000906"/>
            <a:ext cx="5406838" cy="41688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51982" indent="-251982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7563" indent="-27358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0746" indent="-205185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Bosch Office Sans" pitchFamily="2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89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rgbClr val="008380"/>
                </a:solidFill>
                <a:latin typeface="Bosch Sans Bold"/>
                <a:ea typeface="+mj-ea"/>
                <a:cs typeface="Arial"/>
              </a:rPr>
              <a:t>LuxaOS – Front End Development for Nexo and AxoControl)</a:t>
            </a:r>
          </a:p>
          <a:p>
            <a:pPr marL="251460" indent="-251460" fontAlgn="auto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1400"/>
              <a:t>Product Owner – Dhruv Kalia(DC-JS/ETI2)</a:t>
            </a:r>
          </a:p>
          <a:p>
            <a:pPr marL="251460" indent="-251460" fontAlgn="auto"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en-US" sz="1400"/>
          </a:p>
          <a:p>
            <a:pPr marL="251460" indent="-251460" fontAlgn="auto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IN" sz="1400"/>
              <a:t>Tester – Andreas Kroetz(DC-JS/ETI2) and Thomas Wahl(DC-JS/ETI2)</a:t>
            </a:r>
          </a:p>
          <a:p>
            <a:pPr marL="251460" indent="-251460" fontAlgn="auto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IN" sz="1400"/>
              <a:t>Backend Developers – Volken(DC-JS/ETI2) ,Abha Rai(DC-JS/ETI2) and Rick Thiele(DC-JS/ETI2)</a:t>
            </a:r>
            <a:endParaRPr lang="en-US" sz="1400"/>
          </a:p>
          <a:p>
            <a:pPr marL="251460" indent="-251460" fontAlgn="auto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IN" sz="1400"/>
              <a:t>DevOps and Security – Alexander Sailer (DC-JS/ETI2) and Heiko Schmidt(DC-JS/ETI2)</a:t>
            </a:r>
          </a:p>
          <a:p>
            <a:pPr marL="251460" indent="-251460" fontAlgn="auto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IN" sz="1400"/>
              <a:t>BS350 Features – Grueter Jens(DC-JS/ETI2)</a:t>
            </a:r>
          </a:p>
          <a:p>
            <a:pPr marL="251460" indent="-251460" fontAlgn="auto">
              <a:spcAft>
                <a:spcPts val="0"/>
              </a:spcAft>
            </a:pPr>
            <a:endParaRPr lang="en-IN" sz="1400"/>
          </a:p>
          <a:p>
            <a:pPr marL="251460" indent="-251460" fontAlgn="auto">
              <a:spcAft>
                <a:spcPts val="0"/>
              </a:spcAft>
            </a:pPr>
            <a:endParaRPr lang="en-IN" sz="1400"/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4B905956-63D8-48A3-B328-9B8CB31F15C9}"/>
              </a:ext>
            </a:extLst>
          </p:cNvPr>
          <p:cNvSpPr txBox="1">
            <a:spLocks/>
          </p:cNvSpPr>
          <p:nvPr/>
        </p:nvSpPr>
        <p:spPr>
          <a:xfrm>
            <a:off x="6321194" y="1000906"/>
            <a:ext cx="4304174" cy="416880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51982" indent="-251982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7563" indent="-27358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0746" indent="-205185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Bosch Office Sans" pitchFamily="2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89000"/>
              </a:lnSpc>
              <a:spcBef>
                <a:spcPct val="0"/>
              </a:spcBef>
              <a:spcAft>
                <a:spcPts val="0"/>
              </a:spcAft>
              <a:buFont typeface="Wingdings 3" panose="05040102010807070707" pitchFamily="18" charset="2"/>
              <a:buNone/>
            </a:pPr>
            <a:r>
              <a:rPr lang="en-US" sz="2000">
                <a:solidFill>
                  <a:srgbClr val="008380"/>
                </a:solidFill>
                <a:latin typeface="Bosch Sans Bold" panose="020B0704020202020204" pitchFamily="34" charset="0"/>
                <a:ea typeface="+mj-ea"/>
                <a:cs typeface="Arial"/>
              </a:rPr>
              <a:t>LuxaMatrix - Platform</a:t>
            </a:r>
          </a:p>
          <a:p>
            <a:pPr marL="251460" indent="-251460" fontAlgn="auto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1400"/>
              <a:t>Requirement and Product Development-Christian Feder(DC-JS/ETS2)</a:t>
            </a:r>
            <a:endParaRPr lang="en-IN" sz="1400"/>
          </a:p>
          <a:p>
            <a:pPr marL="251460" indent="-251460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IN" sz="1400"/>
              <a:t>Bjoern- TASS connectivity development(DC-JS/PRM-T)</a:t>
            </a:r>
          </a:p>
        </p:txBody>
      </p:sp>
    </p:spTree>
    <p:extLst>
      <p:ext uri="{BB962C8B-B14F-4D97-AF65-F5344CB8AC3E}">
        <p14:creationId xmlns:p14="http://schemas.microsoft.com/office/powerpoint/2010/main" val="27316809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D68A29-8BC7-F31E-7717-53A9980396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5</a:t>
            </a:fld>
            <a:endParaRPr lang="en-US" noProof="1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227150-1474-0C8D-F6F2-1FD676A0F6C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3973" y="673213"/>
            <a:ext cx="5167555" cy="482189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F3ADC1E-3D17-73C2-4299-9F43E3FBD18B}"/>
              </a:ext>
            </a:extLst>
          </p:cNvPr>
          <p:cNvSpPr txBox="1"/>
          <p:nvPr/>
        </p:nvSpPr>
        <p:spPr>
          <a:xfrm>
            <a:off x="429926" y="162732"/>
            <a:ext cx="6164603" cy="4102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400" spc="-55">
                <a:solidFill>
                  <a:srgbClr val="BC0F79"/>
                </a:solidFill>
                <a:latin typeface="Bosch Sans Bold" panose="020B0704020202020204" pitchFamily="34" charset="0"/>
                <a:cs typeface="Arial"/>
              </a:rPr>
              <a:t>Tightening Product Scop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EB855D1-13C4-D684-D2E6-DE22FAF257A2}"/>
              </a:ext>
            </a:extLst>
          </p:cNvPr>
          <p:cNvSpPr/>
          <p:nvPr/>
        </p:nvSpPr>
        <p:spPr>
          <a:xfrm>
            <a:off x="3851329" y="2661833"/>
            <a:ext cx="1425844" cy="1108129"/>
          </a:xfrm>
          <a:prstGeom prst="rect">
            <a:avLst/>
          </a:prstGeom>
          <a:noFill/>
          <a:ln w="28575" cap="flat" cmpd="sng" algn="ctr">
            <a:solidFill>
              <a:srgbClr val="00B050"/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949CCA6-B558-8893-B2A4-36B8163F5F2B}"/>
              </a:ext>
            </a:extLst>
          </p:cNvPr>
          <p:cNvSpPr txBox="1"/>
          <p:nvPr/>
        </p:nvSpPr>
        <p:spPr>
          <a:xfrm>
            <a:off x="5029200" y="2626962"/>
            <a:ext cx="914400" cy="91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C5DD3AE-A44E-FC52-0541-9BE8121894B2}"/>
              </a:ext>
            </a:extLst>
          </p:cNvPr>
          <p:cNvSpPr txBox="1"/>
          <p:nvPr/>
        </p:nvSpPr>
        <p:spPr>
          <a:xfrm>
            <a:off x="1224366" y="1379349"/>
            <a:ext cx="2619214" cy="101513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urrent Scope:</a:t>
            </a:r>
          </a:p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kern="0">
                <a:solidFill>
                  <a:srgbClr val="000000"/>
                </a:solidFill>
              </a:rPr>
              <a:t>V4.00. SP2, SP3, SP4,V4.01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13093920-BD04-849C-1213-04AAF302FAF5}"/>
              </a:ext>
            </a:extLst>
          </p:cNvPr>
          <p:cNvCxnSpPr>
            <a:cxnSpLocks/>
          </p:cNvCxnSpPr>
          <p:nvPr/>
        </p:nvCxnSpPr>
        <p:spPr>
          <a:xfrm>
            <a:off x="2729154" y="2394488"/>
            <a:ext cx="1114426" cy="690818"/>
          </a:xfrm>
          <a:prstGeom prst="bentConnector3">
            <a:avLst/>
          </a:prstGeom>
          <a:ln w="1905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F8609EBD-31E2-2A61-4C15-F008DA46C6CB}"/>
              </a:ext>
            </a:extLst>
          </p:cNvPr>
          <p:cNvSpPr txBox="1"/>
          <p:nvPr/>
        </p:nvSpPr>
        <p:spPr>
          <a:xfrm>
            <a:off x="7514095" y="1299275"/>
            <a:ext cx="2619214" cy="101513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b="1" kern="0">
                <a:solidFill>
                  <a:srgbClr val="000000"/>
                </a:solidFill>
              </a:rPr>
              <a:t>Future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Scope:</a:t>
            </a:r>
          </a:p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kern="0">
                <a:solidFill>
                  <a:srgbClr val="000000"/>
                </a:solidFill>
              </a:rPr>
              <a:t>V4.02, V4.*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94C5034-1D57-92C0-AFE1-BAF26A482426}"/>
              </a:ext>
            </a:extLst>
          </p:cNvPr>
          <p:cNvSpPr/>
          <p:nvPr/>
        </p:nvSpPr>
        <p:spPr>
          <a:xfrm>
            <a:off x="3742841" y="2564969"/>
            <a:ext cx="3285640" cy="1301858"/>
          </a:xfrm>
          <a:prstGeom prst="rect">
            <a:avLst/>
          </a:prstGeom>
          <a:noFill/>
          <a:ln w="28575" cap="flat" cmpd="sng" algn="ctr">
            <a:solidFill>
              <a:srgbClr val="00B0F0"/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AD0EA14E-806E-8059-4B35-EA18C8EDEF69}"/>
              </a:ext>
            </a:extLst>
          </p:cNvPr>
          <p:cNvCxnSpPr>
            <a:stCxn id="18" idx="2"/>
          </p:cNvCxnSpPr>
          <p:nvPr/>
        </p:nvCxnSpPr>
        <p:spPr>
          <a:xfrm rot="5400000">
            <a:off x="7486974" y="1855922"/>
            <a:ext cx="878237" cy="1795221"/>
          </a:xfrm>
          <a:prstGeom prst="bentConnector2">
            <a:avLst/>
          </a:prstGeom>
          <a:ln w="1905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74379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3" grpId="0" animBg="1"/>
      <p:bldP spid="18" grpId="0" animBg="1"/>
      <p:bldP spid="1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09F6A20-ECB1-4CE3-9506-A7224072A4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09F6A20-ECB1-4CE3-9506-A7224072A4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9810F9-AB71-4825-9C34-7245EAD2F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898AEC0-503E-4FA4-859C-D0F72D6E3F79}" type="slidenum">
              <a:rPr kumimoji="0" lang="en-US" sz="1200" b="0" i="0" u="none" strike="noStrike" kern="0" cap="none" spc="0" normalizeH="0" baseline="0" noProof="1" smtClean="0">
                <a:ln>
                  <a:noFill/>
                </a:ln>
                <a:solidFill>
                  <a:srgbClr val="A3BAC8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0" cap="none" spc="0" normalizeH="0" baseline="0" noProof="1">
              <a:ln>
                <a:noFill/>
              </a:ln>
              <a:solidFill>
                <a:srgbClr val="A3BAC8"/>
              </a:solidFill>
              <a:effectLst/>
              <a:uLnTx/>
              <a:uFillTx/>
              <a:latin typeface="Bosch Office Sans" pitchFamily="34" charset="0"/>
              <a:ea typeface="+mn-ea"/>
              <a:cs typeface="+mn-cs"/>
            </a:endParaRP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972387E4-60D3-4C16-AA09-C1A62BF98E21}"/>
              </a:ext>
            </a:extLst>
          </p:cNvPr>
          <p:cNvSpPr txBox="1">
            <a:spLocks/>
          </p:cNvSpPr>
          <p:nvPr/>
        </p:nvSpPr>
        <p:spPr>
          <a:xfrm>
            <a:off x="259080" y="196470"/>
            <a:ext cx="4983479" cy="471131"/>
          </a:xfrm>
          <a:prstGeom prst="rect">
            <a:avLst/>
          </a:prstGeom>
          <a:solidFill>
            <a:srgbClr val="07CCFF"/>
          </a:solidFill>
          <a:ln>
            <a:solidFill>
              <a:srgbClr val="07CCFF"/>
            </a:solidFill>
          </a:ln>
        </p:spPr>
        <p:txBody>
          <a:bodyPr/>
          <a:lstStyle>
            <a:lvl1pPr marL="251982" indent="-251982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7563" indent="-27358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0746" indent="-205185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Bosch Office Sans" pitchFamily="2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33" rtl="0" eaLnBrk="1" fontAlgn="auto" latinLnBrk="0" hangingPunct="1">
              <a:lnSpc>
                <a:spcPct val="107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2160" b="0" i="0" u="none" strike="noStrike" kern="1200" cap="none" spc="-7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sch Sans Black"/>
                <a:ea typeface="+mn-ea"/>
                <a:cs typeface="Bosch Sans Black"/>
              </a:rPr>
              <a:t>Bosch Rexroth Joining Technology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E2437AD6-1479-4AC7-AAF3-262A97F3D824}"/>
              </a:ext>
            </a:extLst>
          </p:cNvPr>
          <p:cNvSpPr txBox="1">
            <a:spLocks/>
          </p:cNvSpPr>
          <p:nvPr/>
        </p:nvSpPr>
        <p:spPr>
          <a:xfrm>
            <a:off x="259082" y="745934"/>
            <a:ext cx="3054642" cy="471131"/>
          </a:xfrm>
          <a:prstGeom prst="rect">
            <a:avLst/>
          </a:prstGeom>
          <a:solidFill>
            <a:srgbClr val="07CCFF"/>
          </a:solidFill>
          <a:ln>
            <a:solidFill>
              <a:srgbClr val="07CCFF"/>
            </a:solidFill>
          </a:ln>
        </p:spPr>
        <p:txBody>
          <a:bodyPr/>
          <a:lstStyle>
            <a:lvl1pPr marL="251982" indent="-251982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7563" indent="-27358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0746" indent="-205185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Bosch Office Sans" pitchFamily="2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33" rtl="0" eaLnBrk="1" fontAlgn="auto" latinLnBrk="0" hangingPunct="1">
              <a:lnSpc>
                <a:spcPct val="107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Product Communality  </a:t>
            </a:r>
            <a:endParaRPr kumimoji="0" lang="de-DE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BF485265-DCEF-4347-A166-830577D489AD}"/>
              </a:ext>
            </a:extLst>
          </p:cNvPr>
          <p:cNvGrpSpPr>
            <a:grpSpLocks noChangeAspect="1"/>
          </p:cNvGrpSpPr>
          <p:nvPr/>
        </p:nvGrpSpPr>
        <p:grpSpPr>
          <a:xfrm>
            <a:off x="1783967" y="1419798"/>
            <a:ext cx="2208008" cy="1475058"/>
            <a:chOff x="681545" y="1354697"/>
            <a:chExt cx="3323148" cy="2354221"/>
          </a:xfrm>
        </p:grpSpPr>
        <p:sp>
          <p:nvSpPr>
            <p:cNvPr id="10" name="Oval 11">
              <a:extLst>
                <a:ext uri="{FF2B5EF4-FFF2-40B4-BE49-F238E27FC236}">
                  <a16:creationId xmlns:a16="http://schemas.microsoft.com/office/drawing/2014/main" id="{E7370BE3-EAD4-4159-8214-184919837AC4}"/>
                </a:ext>
              </a:extLst>
            </p:cNvPr>
            <p:cNvSpPr>
              <a:spLocks/>
            </p:cNvSpPr>
            <p:nvPr/>
          </p:nvSpPr>
          <p:spPr>
            <a:xfrm>
              <a:off x="690030" y="1354697"/>
              <a:ext cx="2213741" cy="2349979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11" name="Arc 1026">
              <a:extLst>
                <a:ext uri="{FF2B5EF4-FFF2-40B4-BE49-F238E27FC236}">
                  <a16:creationId xmlns:a16="http://schemas.microsoft.com/office/drawing/2014/main" id="{8DD5378A-3B57-4220-B4E5-E9FC99BDD796}"/>
                </a:ext>
              </a:extLst>
            </p:cNvPr>
            <p:cNvSpPr/>
            <p:nvPr/>
          </p:nvSpPr>
          <p:spPr>
            <a:xfrm>
              <a:off x="681924" y="1358939"/>
              <a:ext cx="2213741" cy="2349979"/>
            </a:xfrm>
            <a:prstGeom prst="arc">
              <a:avLst>
                <a:gd name="adj1" fmla="val 9792449"/>
                <a:gd name="adj2" fmla="val 35156"/>
              </a:avLst>
            </a:prstGeom>
            <a:noFill/>
            <a:ln w="114300">
              <a:solidFill>
                <a:schemeClr val="accent2"/>
              </a:solidFill>
            </a:ln>
          </p:spPr>
          <p:style>
            <a:lnRef idx="1">
              <a:srgbClr val="002B49"/>
            </a:lnRef>
            <a:fillRef idx="0">
              <a:srgbClr val="002B49"/>
            </a:fillRef>
            <a:effectRef idx="0">
              <a:srgbClr val="002B49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12" name="Arc 1027">
              <a:extLst>
                <a:ext uri="{FF2B5EF4-FFF2-40B4-BE49-F238E27FC236}">
                  <a16:creationId xmlns:a16="http://schemas.microsoft.com/office/drawing/2014/main" id="{9E781358-EA3D-4951-A1B0-2844F1B7159B}"/>
                </a:ext>
              </a:extLst>
            </p:cNvPr>
            <p:cNvSpPr/>
            <p:nvPr/>
          </p:nvSpPr>
          <p:spPr>
            <a:xfrm>
              <a:off x="681924" y="1358939"/>
              <a:ext cx="2213741" cy="2349979"/>
            </a:xfrm>
            <a:prstGeom prst="arc">
              <a:avLst>
                <a:gd name="adj1" fmla="val 565595"/>
                <a:gd name="adj2" fmla="val 4586588"/>
              </a:avLst>
            </a:prstGeom>
            <a:noFill/>
            <a:ln w="114300">
              <a:solidFill>
                <a:schemeClr val="accent3">
                  <a:alpha val="97000"/>
                </a:schemeClr>
              </a:solidFill>
            </a:ln>
          </p:spPr>
          <p:style>
            <a:lnRef idx="1">
              <a:srgbClr val="002B49"/>
            </a:lnRef>
            <a:fillRef idx="0">
              <a:srgbClr val="002B49"/>
            </a:fillRef>
            <a:effectRef idx="0">
              <a:srgbClr val="002B49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13" name="Arc 1027">
              <a:extLst>
                <a:ext uri="{FF2B5EF4-FFF2-40B4-BE49-F238E27FC236}">
                  <a16:creationId xmlns:a16="http://schemas.microsoft.com/office/drawing/2014/main" id="{FB3F448D-D2D8-4F8E-BB43-BB1B06D64697}"/>
                </a:ext>
              </a:extLst>
            </p:cNvPr>
            <p:cNvSpPr/>
            <p:nvPr/>
          </p:nvSpPr>
          <p:spPr>
            <a:xfrm>
              <a:off x="681545" y="1357563"/>
              <a:ext cx="2213741" cy="2349979"/>
            </a:xfrm>
            <a:prstGeom prst="arc">
              <a:avLst>
                <a:gd name="adj1" fmla="val 6169313"/>
                <a:gd name="adj2" fmla="val 9372053"/>
              </a:avLst>
            </a:prstGeom>
            <a:noFill/>
            <a:ln w="114300">
              <a:solidFill>
                <a:schemeClr val="accent4">
                  <a:alpha val="97000"/>
                </a:schemeClr>
              </a:solidFill>
            </a:ln>
          </p:spPr>
          <p:style>
            <a:lnRef idx="1">
              <a:srgbClr val="002B49"/>
            </a:lnRef>
            <a:fillRef idx="0">
              <a:srgbClr val="002B49"/>
            </a:fillRef>
            <a:effectRef idx="0">
              <a:srgbClr val="002B49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14" name="Arc 1027">
              <a:extLst>
                <a:ext uri="{FF2B5EF4-FFF2-40B4-BE49-F238E27FC236}">
                  <a16:creationId xmlns:a16="http://schemas.microsoft.com/office/drawing/2014/main" id="{2C7E5569-7518-4F26-8E26-155D64649ABF}"/>
                </a:ext>
              </a:extLst>
            </p:cNvPr>
            <p:cNvSpPr/>
            <p:nvPr/>
          </p:nvSpPr>
          <p:spPr>
            <a:xfrm>
              <a:off x="682650" y="1357563"/>
              <a:ext cx="2213741" cy="2349979"/>
            </a:xfrm>
            <a:prstGeom prst="arc">
              <a:avLst>
                <a:gd name="adj1" fmla="val 5017920"/>
                <a:gd name="adj2" fmla="val 5768886"/>
              </a:avLst>
            </a:prstGeom>
            <a:noFill/>
            <a:ln w="114300">
              <a:solidFill>
                <a:schemeClr val="accent6">
                  <a:alpha val="97000"/>
                </a:schemeClr>
              </a:solidFill>
            </a:ln>
          </p:spPr>
          <p:style>
            <a:lnRef idx="1">
              <a:srgbClr val="002B49"/>
            </a:lnRef>
            <a:fillRef idx="0">
              <a:srgbClr val="002B49"/>
            </a:fillRef>
            <a:effectRef idx="0">
              <a:srgbClr val="002B49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15" name="Text Box 7_">
              <a:extLst>
                <a:ext uri="{FF2B5EF4-FFF2-40B4-BE49-F238E27FC236}">
                  <a16:creationId xmlns:a16="http://schemas.microsoft.com/office/drawing/2014/main" id="{8C673BFE-8630-416E-A41E-CBA2A4A2151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95648" y="1848212"/>
              <a:ext cx="1106099" cy="285719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square" lIns="0" tIns="12697" rIns="0" bIns="0">
              <a:spAutoFit/>
            </a:bodyPr>
            <a:lstStyle/>
            <a:p>
              <a:pPr marL="0" marR="0" lvl="0" indent="0" algn="l" defTabSz="839536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2B49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rPr>
                <a:t>Universal</a:t>
              </a:r>
            </a:p>
          </p:txBody>
        </p:sp>
        <p:sp>
          <p:nvSpPr>
            <p:cNvPr id="16" name="Text Box 7_______">
              <a:extLst>
                <a:ext uri="{FF2B5EF4-FFF2-40B4-BE49-F238E27FC236}">
                  <a16:creationId xmlns:a16="http://schemas.microsoft.com/office/drawing/2014/main" id="{067062D4-D33C-41F9-B954-140F21B5C81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29870" y="2595775"/>
              <a:ext cx="1732477" cy="609924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square" lIns="0" tIns="12697" rIns="0" bIns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2B49"/>
                  </a:solidFill>
                  <a:effectLst/>
                  <a:uLnTx/>
                  <a:uFillTx/>
                  <a:latin typeface="Bosch Office Sans"/>
                  <a:ea typeface="+mn-ea"/>
                  <a:cs typeface="Bosch Office Sans"/>
                </a:rPr>
                <a:t>for all tools 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2B49"/>
                  </a:solidFill>
                  <a:effectLst/>
                  <a:uLnTx/>
                  <a:uFillTx/>
                  <a:latin typeface="Bosch Office Sans"/>
                  <a:ea typeface="+mn-ea"/>
                  <a:cs typeface="Bosch Office Sans"/>
                </a:rPr>
                <a:t>- browser based</a:t>
              </a:r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E85059C6-CC74-4655-BA98-04FBEAE67861}"/>
                </a:ext>
              </a:extLst>
            </p:cNvPr>
            <p:cNvSpPr txBox="1"/>
            <p:nvPr/>
          </p:nvSpPr>
          <p:spPr>
            <a:xfrm>
              <a:off x="2004972" y="1740155"/>
              <a:ext cx="1999721" cy="402197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81000" tIns="9540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2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osch Sans Black" pitchFamily="2" charset="0"/>
                  <a:ea typeface="+mn-ea"/>
                  <a:cs typeface="+mn-cs"/>
                </a:rPr>
                <a:t>SOFTWARE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B64E6CCC-2C8D-4446-BCDE-97243AB9519E}"/>
                </a:ext>
              </a:extLst>
            </p:cNvPr>
            <p:cNvSpPr txBox="1"/>
            <p:nvPr/>
          </p:nvSpPr>
          <p:spPr>
            <a:xfrm>
              <a:off x="1490345" y="2197962"/>
              <a:ext cx="2145412" cy="402197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81000" tIns="9900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2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osch Sans Black" pitchFamily="2" charset="0"/>
                  <a:ea typeface="+mn-ea"/>
                  <a:cs typeface="+mn-cs"/>
                </a:rPr>
                <a:t>PLATTFORM</a:t>
              </a: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12A90041-EBD7-4DDD-9453-253B69B51EFB}"/>
              </a:ext>
            </a:extLst>
          </p:cNvPr>
          <p:cNvGrpSpPr>
            <a:grpSpLocks noChangeAspect="1"/>
          </p:cNvGrpSpPr>
          <p:nvPr/>
        </p:nvGrpSpPr>
        <p:grpSpPr>
          <a:xfrm>
            <a:off x="8059535" y="386293"/>
            <a:ext cx="2512039" cy="1980000"/>
            <a:chOff x="8099316" y="197195"/>
            <a:chExt cx="2814165" cy="2218132"/>
          </a:xfrm>
        </p:grpSpPr>
        <p:grpSp>
          <p:nvGrpSpPr>
            <p:cNvPr id="43" name="Gruppieren 42">
              <a:extLst>
                <a:ext uri="{FF2B5EF4-FFF2-40B4-BE49-F238E27FC236}">
                  <a16:creationId xmlns:a16="http://schemas.microsoft.com/office/drawing/2014/main" id="{37D3FE98-B4D9-4AE5-898F-F490ABC1A2F5}"/>
                </a:ext>
              </a:extLst>
            </p:cNvPr>
            <p:cNvGrpSpPr/>
            <p:nvPr/>
          </p:nvGrpSpPr>
          <p:grpSpPr>
            <a:xfrm>
              <a:off x="8099316" y="197195"/>
              <a:ext cx="2814165" cy="2218132"/>
              <a:chOff x="681545" y="1354697"/>
              <a:chExt cx="2814165" cy="2218132"/>
            </a:xfrm>
          </p:grpSpPr>
          <p:sp>
            <p:nvSpPr>
              <p:cNvPr id="49" name="Oval 11">
                <a:extLst>
                  <a:ext uri="{FF2B5EF4-FFF2-40B4-BE49-F238E27FC236}">
                    <a16:creationId xmlns:a16="http://schemas.microsoft.com/office/drawing/2014/main" id="{94283E5E-F950-4294-8E49-79E18DD1F75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90030" y="1354697"/>
                <a:ext cx="2213742" cy="2213743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endParaRPr>
              </a:p>
            </p:txBody>
          </p:sp>
          <p:sp>
            <p:nvSpPr>
              <p:cNvPr id="50" name="Arc 1026">
                <a:extLst>
                  <a:ext uri="{FF2B5EF4-FFF2-40B4-BE49-F238E27FC236}">
                    <a16:creationId xmlns:a16="http://schemas.microsoft.com/office/drawing/2014/main" id="{7A08F7D0-9F01-4CB4-B773-E0AC44D7FC8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81924" y="1358939"/>
                <a:ext cx="2213742" cy="2213890"/>
              </a:xfrm>
              <a:prstGeom prst="arc">
                <a:avLst>
                  <a:gd name="adj1" fmla="val 9792449"/>
                  <a:gd name="adj2" fmla="val 35156"/>
                </a:avLst>
              </a:prstGeom>
              <a:noFill/>
              <a:ln w="114300">
                <a:solidFill>
                  <a:schemeClr val="accent2"/>
                </a:solidFill>
              </a:ln>
            </p:spPr>
            <p:style>
              <a:lnRef idx="1">
                <a:srgbClr val="002B49"/>
              </a:lnRef>
              <a:fillRef idx="0">
                <a:srgbClr val="002B49"/>
              </a:fillRef>
              <a:effectRef idx="0">
                <a:srgbClr val="002B49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endParaRPr>
              </a:p>
            </p:txBody>
          </p:sp>
          <p:sp>
            <p:nvSpPr>
              <p:cNvPr id="51" name="Arc 1027">
                <a:extLst>
                  <a:ext uri="{FF2B5EF4-FFF2-40B4-BE49-F238E27FC236}">
                    <a16:creationId xmlns:a16="http://schemas.microsoft.com/office/drawing/2014/main" id="{E27CD94D-1D6C-4F8A-B580-636260DF44C4}"/>
                  </a:ext>
                </a:extLst>
              </p:cNvPr>
              <p:cNvSpPr/>
              <p:nvPr/>
            </p:nvSpPr>
            <p:spPr>
              <a:xfrm>
                <a:off x="681924" y="1358939"/>
                <a:ext cx="2213742" cy="2213890"/>
              </a:xfrm>
              <a:prstGeom prst="arc">
                <a:avLst>
                  <a:gd name="adj1" fmla="val 565595"/>
                  <a:gd name="adj2" fmla="val 4586588"/>
                </a:avLst>
              </a:prstGeom>
              <a:noFill/>
              <a:ln w="114300">
                <a:solidFill>
                  <a:schemeClr val="accent3">
                    <a:alpha val="97000"/>
                  </a:schemeClr>
                </a:solidFill>
              </a:ln>
            </p:spPr>
            <p:style>
              <a:lnRef idx="1">
                <a:srgbClr val="002B49"/>
              </a:lnRef>
              <a:fillRef idx="0">
                <a:srgbClr val="002B49"/>
              </a:fillRef>
              <a:effectRef idx="0">
                <a:srgbClr val="002B49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endParaRPr>
              </a:p>
            </p:txBody>
          </p:sp>
          <p:sp>
            <p:nvSpPr>
              <p:cNvPr id="52" name="Arc 1027">
                <a:extLst>
                  <a:ext uri="{FF2B5EF4-FFF2-40B4-BE49-F238E27FC236}">
                    <a16:creationId xmlns:a16="http://schemas.microsoft.com/office/drawing/2014/main" id="{58AE9DE1-70C1-4F23-AE2B-B64885BAC59D}"/>
                  </a:ext>
                </a:extLst>
              </p:cNvPr>
              <p:cNvSpPr/>
              <p:nvPr/>
            </p:nvSpPr>
            <p:spPr>
              <a:xfrm>
                <a:off x="681545" y="1357564"/>
                <a:ext cx="2213742" cy="2213890"/>
              </a:xfrm>
              <a:prstGeom prst="arc">
                <a:avLst>
                  <a:gd name="adj1" fmla="val 6169313"/>
                  <a:gd name="adj2" fmla="val 9372053"/>
                </a:avLst>
              </a:prstGeom>
              <a:noFill/>
              <a:ln w="114300">
                <a:solidFill>
                  <a:schemeClr val="accent4">
                    <a:alpha val="97000"/>
                  </a:schemeClr>
                </a:solidFill>
              </a:ln>
            </p:spPr>
            <p:style>
              <a:lnRef idx="1">
                <a:srgbClr val="002B49"/>
              </a:lnRef>
              <a:fillRef idx="0">
                <a:srgbClr val="002B49"/>
              </a:fillRef>
              <a:effectRef idx="0">
                <a:srgbClr val="002B49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endParaRPr>
              </a:p>
            </p:txBody>
          </p:sp>
          <p:sp>
            <p:nvSpPr>
              <p:cNvPr id="53" name="Arc 1027">
                <a:extLst>
                  <a:ext uri="{FF2B5EF4-FFF2-40B4-BE49-F238E27FC236}">
                    <a16:creationId xmlns:a16="http://schemas.microsoft.com/office/drawing/2014/main" id="{12296046-DE3F-4CBE-82A8-02829A42EB57}"/>
                  </a:ext>
                </a:extLst>
              </p:cNvPr>
              <p:cNvSpPr/>
              <p:nvPr/>
            </p:nvSpPr>
            <p:spPr>
              <a:xfrm>
                <a:off x="682649" y="1357564"/>
                <a:ext cx="2213742" cy="2213890"/>
              </a:xfrm>
              <a:prstGeom prst="arc">
                <a:avLst>
                  <a:gd name="adj1" fmla="val 5017920"/>
                  <a:gd name="adj2" fmla="val 5768886"/>
                </a:avLst>
              </a:prstGeom>
              <a:noFill/>
              <a:ln w="114300">
                <a:solidFill>
                  <a:schemeClr val="accent6">
                    <a:alpha val="97000"/>
                  </a:schemeClr>
                </a:solidFill>
              </a:ln>
            </p:spPr>
            <p:style>
              <a:lnRef idx="1">
                <a:srgbClr val="002B49"/>
              </a:lnRef>
              <a:fillRef idx="0">
                <a:srgbClr val="002B49"/>
              </a:fillRef>
              <a:effectRef idx="0">
                <a:srgbClr val="002B49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endParaRPr>
              </a:p>
            </p:txBody>
          </p:sp>
          <p:sp>
            <p:nvSpPr>
              <p:cNvPr id="54" name="Text Box 7_">
                <a:extLst>
                  <a:ext uri="{FF2B5EF4-FFF2-40B4-BE49-F238E27FC236}">
                    <a16:creationId xmlns:a16="http://schemas.microsoft.com/office/drawing/2014/main" id="{A041E41B-86FB-4E30-B12E-509EC0FCEF7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101873" y="1770123"/>
                <a:ext cx="1332177" cy="501670"/>
              </a:xfrm>
              <a:prstGeom prst="rect">
                <a:avLst/>
              </a:prstGeom>
              <a:noFill/>
              <a:ln w="0">
                <a:noFill/>
                <a:miter lim="800000"/>
                <a:headEnd/>
                <a:tailEnd/>
              </a:ln>
            </p:spPr>
            <p:txBody>
              <a:bodyPr wrap="square" lIns="0" tIns="12697" rIns="0" bIns="0">
                <a:spAutoFit/>
              </a:bodyPr>
              <a:lstStyle/>
              <a:p>
                <a:pPr marL="0" marR="0" lvl="0" indent="0" algn="l" defTabSz="839536" rtl="0" eaLnBrk="1" fontAlgn="base" latinLnBrk="0" hangingPunct="1">
                  <a:lnSpc>
                    <a:spcPct val="90000"/>
                  </a:lnSpc>
                  <a:spcBef>
                    <a:spcPts val="700"/>
                  </a:spcBef>
                  <a:spcAft>
                    <a:spcPts val="1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2B49"/>
                    </a:solidFill>
                    <a:effectLst/>
                    <a:uLnTx/>
                    <a:uFillTx/>
                    <a:latin typeface="Bosch Office Sans"/>
                    <a:ea typeface="+mn-ea"/>
                    <a:cs typeface="+mn-cs"/>
                  </a:rPr>
                  <a:t>Standard </a:t>
                </a:r>
              </a:p>
              <a:p>
                <a:pPr marL="0" marR="0" lvl="0" indent="0" algn="l" defTabSz="839536" rtl="0" eaLnBrk="1" fontAlgn="base" latinLnBrk="0" hangingPunct="1">
                  <a:lnSpc>
                    <a:spcPct val="90000"/>
                  </a:lnSpc>
                  <a:spcBef>
                    <a:spcPts val="700"/>
                  </a:spcBef>
                  <a:spcAft>
                    <a:spcPts val="1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2B49"/>
                    </a:solidFill>
                    <a:effectLst/>
                    <a:uLnTx/>
                    <a:uFillTx/>
                    <a:latin typeface="Bosch Office Sans"/>
                    <a:ea typeface="+mn-ea"/>
                    <a:cs typeface="+mn-cs"/>
                  </a:rPr>
                  <a:t>Bosch</a:t>
                </a:r>
              </a:p>
            </p:txBody>
          </p:sp>
          <p:sp>
            <p:nvSpPr>
              <p:cNvPr id="55" name="Textfeld 54">
                <a:extLst>
                  <a:ext uri="{FF2B5EF4-FFF2-40B4-BE49-F238E27FC236}">
                    <a16:creationId xmlns:a16="http://schemas.microsoft.com/office/drawing/2014/main" id="{1BDE5006-AA5C-4CA9-978B-5FFCBFE9D943}"/>
                  </a:ext>
                </a:extLst>
              </p:cNvPr>
              <p:cNvSpPr txBox="1"/>
              <p:nvPr/>
            </p:nvSpPr>
            <p:spPr>
              <a:xfrm>
                <a:off x="1631982" y="1984914"/>
                <a:ext cx="1263305" cy="282308"/>
              </a:xfrm>
              <a:prstGeom prst="rect">
                <a:avLst/>
              </a:prstGeom>
              <a:solidFill>
                <a:schemeClr val="accent1"/>
              </a:solidFill>
            </p:spPr>
            <p:txBody>
              <a:bodyPr wrap="square" lIns="81000" tIns="95400" rIns="0" bIns="0" rtlCol="0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ts val="1200"/>
                  </a:lnSpc>
                  <a:spcBef>
                    <a:spcPts val="5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Bosch Sans Black" pitchFamily="2" charset="0"/>
                    <a:ea typeface="+mn-ea"/>
                    <a:cs typeface="+mn-cs"/>
                  </a:rPr>
                  <a:t>BATTERY</a:t>
                </a:r>
              </a:p>
            </p:txBody>
          </p:sp>
          <p:sp>
            <p:nvSpPr>
              <p:cNvPr id="56" name="Textfeld 55">
                <a:extLst>
                  <a:ext uri="{FF2B5EF4-FFF2-40B4-BE49-F238E27FC236}">
                    <a16:creationId xmlns:a16="http://schemas.microsoft.com/office/drawing/2014/main" id="{CC07AC2A-2840-4B09-A938-5E2418C5CF55}"/>
                  </a:ext>
                </a:extLst>
              </p:cNvPr>
              <p:cNvSpPr txBox="1"/>
              <p:nvPr/>
            </p:nvSpPr>
            <p:spPr>
              <a:xfrm>
                <a:off x="1380268" y="2300866"/>
                <a:ext cx="2115442" cy="282308"/>
              </a:xfrm>
              <a:prstGeom prst="rect">
                <a:avLst/>
              </a:prstGeom>
              <a:solidFill>
                <a:schemeClr val="accent1"/>
              </a:solidFill>
            </p:spPr>
            <p:txBody>
              <a:bodyPr wrap="square" lIns="81000" tIns="99000" rIns="0" bIns="0" rtlCol="0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ts val="1200"/>
                  </a:lnSpc>
                  <a:spcBef>
                    <a:spcPts val="5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Bosch Sans Black" pitchFamily="2" charset="0"/>
                    <a:ea typeface="+mn-ea"/>
                    <a:cs typeface="+mn-cs"/>
                  </a:rPr>
                  <a:t>NEXO </a:t>
                </a:r>
                <a:r>
                  <a: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Bosch Sans Black" pitchFamily="2" charset="0"/>
                    <a:ea typeface="+mn-ea"/>
                    <a:cs typeface="+mn-cs"/>
                  </a:rPr>
                  <a:t>and</a:t>
                </a: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Bosch Sans Black" pitchFamily="2" charset="0"/>
                    <a:ea typeface="+mn-ea"/>
                    <a:cs typeface="+mn-cs"/>
                  </a:rPr>
                  <a:t> Exact</a:t>
                </a:r>
              </a:p>
            </p:txBody>
          </p:sp>
        </p:grpSp>
        <p:sp>
          <p:nvSpPr>
            <p:cNvPr id="44" name="Text Box 7_">
              <a:extLst>
                <a:ext uri="{FF2B5EF4-FFF2-40B4-BE49-F238E27FC236}">
                  <a16:creationId xmlns:a16="http://schemas.microsoft.com/office/drawing/2014/main" id="{12C3F3D3-1C9D-4505-8A56-BF981BDF37A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545141" y="1195780"/>
              <a:ext cx="831571" cy="200551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square" lIns="0" tIns="12697" rIns="0" bIns="0">
              <a:spAutoFit/>
            </a:bodyPr>
            <a:lstStyle/>
            <a:p>
              <a:pPr marL="0" marR="0" lvl="0" indent="0" algn="l" defTabSz="839536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2B49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rPr>
                <a:t>for</a:t>
              </a:r>
            </a:p>
          </p:txBody>
        </p:sp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BC642678-0DFA-4558-83EC-F28AE8733F9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9937" b="89641" l="9514" r="94080">
                          <a14:foregroundMark x1="9725" y1="47146" x2="10148" y2="61311"/>
                          <a14:foregroundMark x1="89641" y1="43552" x2="90698" y2="60254"/>
                          <a14:foregroundMark x1="94080" y1="47780" x2="93446" y2="57082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611390" y="1473029"/>
              <a:ext cx="515396" cy="515396"/>
            </a:xfrm>
            <a:prstGeom prst="rect">
              <a:avLst/>
            </a:prstGeom>
          </p:spPr>
        </p:pic>
        <p:pic>
          <p:nvPicPr>
            <p:cNvPr id="47" name="Grafik 46">
              <a:extLst>
                <a:ext uri="{FF2B5EF4-FFF2-40B4-BE49-F238E27FC236}">
                  <a16:creationId xmlns:a16="http://schemas.microsoft.com/office/drawing/2014/main" id="{84608EDE-D81E-45BB-9784-2D702E8AA26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4154" b="94659" l="4774" r="96985">
                          <a14:foregroundMark x1="8543" y1="30564" x2="5276" y2="39466"/>
                          <a14:foregroundMark x1="7035" y1="48961" x2="22111" y2="59050"/>
                          <a14:foregroundMark x1="11558" y1="54896" x2="18342" y2="55786"/>
                          <a14:foregroundMark x1="14573" y1="56083" x2="26131" y2="61721"/>
                          <a14:foregroundMark x1="13317" y1="50742" x2="25126" y2="59050"/>
                          <a14:foregroundMark x1="50503" y1="63798" x2="41457" y2="75964"/>
                          <a14:foregroundMark x1="34422" y1="10979" x2="58291" y2="3561"/>
                          <a14:foregroundMark x1="58291" y1="3561" x2="82412" y2="16914"/>
                          <a14:foregroundMark x1="82412" y1="16914" x2="95226" y2="41543"/>
                          <a14:foregroundMark x1="95226" y1="41543" x2="92714" y2="69436"/>
                          <a14:foregroundMark x1="92714" y1="69436" x2="90452" y2="70623"/>
                          <a14:foregroundMark x1="96985" y1="36795" x2="96482" y2="45994"/>
                          <a14:foregroundMark x1="97236" y1="53709" x2="95477" y2="64095"/>
                          <a14:foregroundMark x1="29397" y1="90208" x2="53518" y2="89318"/>
                          <a14:foregroundMark x1="53518" y1="89318" x2="54523" y2="88724"/>
                          <a14:foregroundMark x1="35176" y1="94362" x2="40955" y2="94659"/>
                          <a14:foregroundMark x1="50251" y1="5045" x2="63819" y2="4154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21064020">
              <a:off x="9176927" y="1782183"/>
              <a:ext cx="504636" cy="427292"/>
            </a:xfrm>
            <a:prstGeom prst="rect">
              <a:avLst/>
            </a:prstGeom>
          </p:spPr>
        </p:pic>
      </p:grp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384BB409-970D-4EC8-A866-A5A0CFAB1146}"/>
              </a:ext>
            </a:extLst>
          </p:cNvPr>
          <p:cNvGrpSpPr>
            <a:grpSpLocks noChangeAspect="1"/>
          </p:cNvGrpSpPr>
          <p:nvPr/>
        </p:nvGrpSpPr>
        <p:grpSpPr>
          <a:xfrm>
            <a:off x="5985157" y="148856"/>
            <a:ext cx="1912079" cy="1389600"/>
            <a:chOff x="681545" y="1354697"/>
            <a:chExt cx="3026954" cy="2218132"/>
          </a:xfrm>
        </p:grpSpPr>
        <p:sp>
          <p:nvSpPr>
            <p:cNvPr id="58" name="Oval 11">
              <a:extLst>
                <a:ext uri="{FF2B5EF4-FFF2-40B4-BE49-F238E27FC236}">
                  <a16:creationId xmlns:a16="http://schemas.microsoft.com/office/drawing/2014/main" id="{3C05C6B7-C2B5-4FB7-8F1D-4410AEC25F7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0030" y="1354697"/>
              <a:ext cx="2194134" cy="2212386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59" name="Arc 1026">
              <a:extLst>
                <a:ext uri="{FF2B5EF4-FFF2-40B4-BE49-F238E27FC236}">
                  <a16:creationId xmlns:a16="http://schemas.microsoft.com/office/drawing/2014/main" id="{8C5A9C26-FC6D-4A9A-BB10-13DF6D752E5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1923" y="1358938"/>
              <a:ext cx="2194134" cy="2213891"/>
            </a:xfrm>
            <a:prstGeom prst="arc">
              <a:avLst>
                <a:gd name="adj1" fmla="val 9792449"/>
                <a:gd name="adj2" fmla="val 35156"/>
              </a:avLst>
            </a:prstGeom>
            <a:noFill/>
            <a:ln w="114300">
              <a:solidFill>
                <a:schemeClr val="accent2"/>
              </a:solidFill>
            </a:ln>
          </p:spPr>
          <p:style>
            <a:lnRef idx="1">
              <a:srgbClr val="002B49"/>
            </a:lnRef>
            <a:fillRef idx="0">
              <a:srgbClr val="002B49"/>
            </a:fillRef>
            <a:effectRef idx="0">
              <a:srgbClr val="002B49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60" name="Arc 1027">
              <a:extLst>
                <a:ext uri="{FF2B5EF4-FFF2-40B4-BE49-F238E27FC236}">
                  <a16:creationId xmlns:a16="http://schemas.microsoft.com/office/drawing/2014/main" id="{2BB6042E-DC9E-406D-9D7D-86413A19530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1923" y="1358938"/>
              <a:ext cx="2194134" cy="2213891"/>
            </a:xfrm>
            <a:prstGeom prst="arc">
              <a:avLst>
                <a:gd name="adj1" fmla="val 565595"/>
                <a:gd name="adj2" fmla="val 4586588"/>
              </a:avLst>
            </a:prstGeom>
            <a:noFill/>
            <a:ln w="114300">
              <a:solidFill>
                <a:schemeClr val="accent3">
                  <a:alpha val="97000"/>
                </a:schemeClr>
              </a:solidFill>
            </a:ln>
          </p:spPr>
          <p:style>
            <a:lnRef idx="1">
              <a:srgbClr val="002B49"/>
            </a:lnRef>
            <a:fillRef idx="0">
              <a:srgbClr val="002B49"/>
            </a:fillRef>
            <a:effectRef idx="0">
              <a:srgbClr val="002B49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61" name="Arc 1027">
              <a:extLst>
                <a:ext uri="{FF2B5EF4-FFF2-40B4-BE49-F238E27FC236}">
                  <a16:creationId xmlns:a16="http://schemas.microsoft.com/office/drawing/2014/main" id="{7D4E3F26-B8FB-421E-9EA2-1F4CFD9B4B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1545" y="1357564"/>
              <a:ext cx="2194134" cy="2213891"/>
            </a:xfrm>
            <a:prstGeom prst="arc">
              <a:avLst>
                <a:gd name="adj1" fmla="val 6169313"/>
                <a:gd name="adj2" fmla="val 9372053"/>
              </a:avLst>
            </a:prstGeom>
            <a:noFill/>
            <a:ln w="114300">
              <a:solidFill>
                <a:schemeClr val="accent4">
                  <a:alpha val="97000"/>
                </a:schemeClr>
              </a:solidFill>
            </a:ln>
          </p:spPr>
          <p:style>
            <a:lnRef idx="1">
              <a:srgbClr val="002B49"/>
            </a:lnRef>
            <a:fillRef idx="0">
              <a:srgbClr val="002B49"/>
            </a:fillRef>
            <a:effectRef idx="0">
              <a:srgbClr val="002B49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62" name="Arc 1027">
              <a:extLst>
                <a:ext uri="{FF2B5EF4-FFF2-40B4-BE49-F238E27FC236}">
                  <a16:creationId xmlns:a16="http://schemas.microsoft.com/office/drawing/2014/main" id="{93A7C1B0-801E-4137-90D5-CC214BEFED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2648" y="1357564"/>
              <a:ext cx="2194134" cy="2213891"/>
            </a:xfrm>
            <a:prstGeom prst="arc">
              <a:avLst>
                <a:gd name="adj1" fmla="val 5017920"/>
                <a:gd name="adj2" fmla="val 5768886"/>
              </a:avLst>
            </a:prstGeom>
            <a:noFill/>
            <a:ln w="114300">
              <a:solidFill>
                <a:schemeClr val="accent6">
                  <a:alpha val="97000"/>
                </a:schemeClr>
              </a:solidFill>
            </a:ln>
          </p:spPr>
          <p:style>
            <a:lnRef idx="1">
              <a:srgbClr val="002B49"/>
            </a:lnRef>
            <a:fillRef idx="0">
              <a:srgbClr val="002B49"/>
            </a:fillRef>
            <a:effectRef idx="0">
              <a:srgbClr val="002B49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63" name="Text Box 7_">
              <a:extLst>
                <a:ext uri="{FF2B5EF4-FFF2-40B4-BE49-F238E27FC236}">
                  <a16:creationId xmlns:a16="http://schemas.microsoft.com/office/drawing/2014/main" id="{268B3D36-9CDC-40D1-B115-FA4CC6A7422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33208" y="1968237"/>
              <a:ext cx="1228756" cy="285758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square" lIns="0" tIns="12697" rIns="0" bIns="0">
              <a:spAutoFit/>
            </a:bodyPr>
            <a:lstStyle/>
            <a:p>
              <a:pPr marL="0" marR="0" lvl="0" indent="0" algn="l" defTabSz="839536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2B49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rPr>
                <a:t>Universal</a:t>
              </a:r>
            </a:p>
          </p:txBody>
        </p:sp>
        <p:sp>
          <p:nvSpPr>
            <p:cNvPr id="64" name="Text Box 7_______">
              <a:extLst>
                <a:ext uri="{FF2B5EF4-FFF2-40B4-BE49-F238E27FC236}">
                  <a16:creationId xmlns:a16="http://schemas.microsoft.com/office/drawing/2014/main" id="{2284CDEF-A729-45AB-B1B3-95FF82BA019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29868" y="2728600"/>
              <a:ext cx="1732476" cy="610007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square" lIns="0" tIns="12697" rIns="0" bIns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2B49"/>
                  </a:solidFill>
                  <a:effectLst/>
                  <a:uLnTx/>
                  <a:uFillTx/>
                  <a:latin typeface="Bosch Office Sans"/>
                  <a:ea typeface="+mn-ea"/>
                  <a:cs typeface="Bosch Office Sans"/>
                </a:rPr>
                <a:t>for all tools 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2B49"/>
                </a:solidFill>
                <a:effectLst/>
                <a:uLnTx/>
                <a:uFillTx/>
                <a:latin typeface="Bosch Office Sans"/>
                <a:ea typeface="+mn-ea"/>
                <a:cs typeface="Bosch Office Sans"/>
              </a:endParaRPr>
            </a:p>
          </p:txBody>
        </p:sp>
        <p:sp>
          <p:nvSpPr>
            <p:cNvPr id="65" name="Textfeld 64">
              <a:extLst>
                <a:ext uri="{FF2B5EF4-FFF2-40B4-BE49-F238E27FC236}">
                  <a16:creationId xmlns:a16="http://schemas.microsoft.com/office/drawing/2014/main" id="{21659F35-E552-419F-BACB-92BD18DEE84D}"/>
                </a:ext>
              </a:extLst>
            </p:cNvPr>
            <p:cNvSpPr txBox="1"/>
            <p:nvPr/>
          </p:nvSpPr>
          <p:spPr>
            <a:xfrm>
              <a:off x="2083616" y="1858233"/>
              <a:ext cx="1387776" cy="40225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81000" tIns="9540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2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osch Sans Black" pitchFamily="2" charset="0"/>
                  <a:ea typeface="+mn-ea"/>
                  <a:cs typeface="+mn-cs"/>
                </a:rPr>
                <a:t>CABLE</a:t>
              </a:r>
            </a:p>
          </p:txBody>
        </p:sp>
        <p:sp>
          <p:nvSpPr>
            <p:cNvPr id="66" name="Textfeld 65">
              <a:extLst>
                <a:ext uri="{FF2B5EF4-FFF2-40B4-BE49-F238E27FC236}">
                  <a16:creationId xmlns:a16="http://schemas.microsoft.com/office/drawing/2014/main" id="{672101A6-034D-442B-BC32-50A6774B38C0}"/>
                </a:ext>
              </a:extLst>
            </p:cNvPr>
            <p:cNvSpPr txBox="1"/>
            <p:nvPr/>
          </p:nvSpPr>
          <p:spPr>
            <a:xfrm>
              <a:off x="1500733" y="2327106"/>
              <a:ext cx="2207766" cy="40225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81000" tIns="9900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2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osch Sans Black" pitchFamily="2" charset="0"/>
                  <a:ea typeface="+mn-ea"/>
                  <a:cs typeface="+mn-cs"/>
                </a:rPr>
                <a:t>PLATTFORM</a:t>
              </a:r>
            </a:p>
          </p:txBody>
        </p:sp>
      </p:grpSp>
      <p:grpSp>
        <p:nvGrpSpPr>
          <p:cNvPr id="67" name="Gruppieren 66">
            <a:extLst>
              <a:ext uri="{FF2B5EF4-FFF2-40B4-BE49-F238E27FC236}">
                <a16:creationId xmlns:a16="http://schemas.microsoft.com/office/drawing/2014/main" id="{85E24009-F679-4F77-8DB2-B8B2D9DD02BA}"/>
              </a:ext>
            </a:extLst>
          </p:cNvPr>
          <p:cNvGrpSpPr>
            <a:grpSpLocks noChangeAspect="1"/>
          </p:cNvGrpSpPr>
          <p:nvPr/>
        </p:nvGrpSpPr>
        <p:grpSpPr>
          <a:xfrm>
            <a:off x="2648798" y="4171731"/>
            <a:ext cx="1445637" cy="1442657"/>
            <a:chOff x="681543" y="1354697"/>
            <a:chExt cx="2176046" cy="2302823"/>
          </a:xfrm>
        </p:grpSpPr>
        <p:sp>
          <p:nvSpPr>
            <p:cNvPr id="68" name="Oval 11">
              <a:extLst>
                <a:ext uri="{FF2B5EF4-FFF2-40B4-BE49-F238E27FC236}">
                  <a16:creationId xmlns:a16="http://schemas.microsoft.com/office/drawing/2014/main" id="{7CE9F9AA-BBB5-4D89-9EB0-98441ED35B2C}"/>
                </a:ext>
              </a:extLst>
            </p:cNvPr>
            <p:cNvSpPr>
              <a:spLocks/>
            </p:cNvSpPr>
            <p:nvPr/>
          </p:nvSpPr>
          <p:spPr>
            <a:xfrm>
              <a:off x="690029" y="1354697"/>
              <a:ext cx="2167560" cy="229858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69" name="Arc 1026">
              <a:extLst>
                <a:ext uri="{FF2B5EF4-FFF2-40B4-BE49-F238E27FC236}">
                  <a16:creationId xmlns:a16="http://schemas.microsoft.com/office/drawing/2014/main" id="{21CD4F9E-C149-4744-B4B0-EAC334060C01}"/>
                </a:ext>
              </a:extLst>
            </p:cNvPr>
            <p:cNvSpPr/>
            <p:nvPr/>
          </p:nvSpPr>
          <p:spPr>
            <a:xfrm>
              <a:off x="681923" y="1358937"/>
              <a:ext cx="2167560" cy="2298582"/>
            </a:xfrm>
            <a:prstGeom prst="arc">
              <a:avLst>
                <a:gd name="adj1" fmla="val 9792449"/>
                <a:gd name="adj2" fmla="val 35156"/>
              </a:avLst>
            </a:prstGeom>
            <a:noFill/>
            <a:ln w="114300">
              <a:solidFill>
                <a:schemeClr val="accent2"/>
              </a:solidFill>
            </a:ln>
          </p:spPr>
          <p:style>
            <a:lnRef idx="1">
              <a:srgbClr val="002B49"/>
            </a:lnRef>
            <a:fillRef idx="0">
              <a:srgbClr val="002B49"/>
            </a:fillRef>
            <a:effectRef idx="0">
              <a:srgbClr val="002B49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70" name="Arc 1027">
              <a:extLst>
                <a:ext uri="{FF2B5EF4-FFF2-40B4-BE49-F238E27FC236}">
                  <a16:creationId xmlns:a16="http://schemas.microsoft.com/office/drawing/2014/main" id="{C94E4E9B-E3DF-4692-89CF-E579C7C42CE4}"/>
                </a:ext>
              </a:extLst>
            </p:cNvPr>
            <p:cNvSpPr/>
            <p:nvPr/>
          </p:nvSpPr>
          <p:spPr>
            <a:xfrm>
              <a:off x="681923" y="1358938"/>
              <a:ext cx="2167560" cy="2298582"/>
            </a:xfrm>
            <a:prstGeom prst="arc">
              <a:avLst>
                <a:gd name="adj1" fmla="val 565595"/>
                <a:gd name="adj2" fmla="val 4586588"/>
              </a:avLst>
            </a:prstGeom>
            <a:noFill/>
            <a:ln w="114300">
              <a:solidFill>
                <a:schemeClr val="accent3">
                  <a:alpha val="97000"/>
                </a:schemeClr>
              </a:solidFill>
            </a:ln>
          </p:spPr>
          <p:style>
            <a:lnRef idx="1">
              <a:srgbClr val="002B49"/>
            </a:lnRef>
            <a:fillRef idx="0">
              <a:srgbClr val="002B49"/>
            </a:fillRef>
            <a:effectRef idx="0">
              <a:srgbClr val="002B49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71" name="Arc 1027">
              <a:extLst>
                <a:ext uri="{FF2B5EF4-FFF2-40B4-BE49-F238E27FC236}">
                  <a16:creationId xmlns:a16="http://schemas.microsoft.com/office/drawing/2014/main" id="{F2C16C0B-3EE3-4789-A436-DFC2E3070C34}"/>
                </a:ext>
              </a:extLst>
            </p:cNvPr>
            <p:cNvSpPr/>
            <p:nvPr/>
          </p:nvSpPr>
          <p:spPr>
            <a:xfrm>
              <a:off x="681543" y="1357562"/>
              <a:ext cx="2167560" cy="2298582"/>
            </a:xfrm>
            <a:prstGeom prst="arc">
              <a:avLst>
                <a:gd name="adj1" fmla="val 6169313"/>
                <a:gd name="adj2" fmla="val 9372053"/>
              </a:avLst>
            </a:prstGeom>
            <a:noFill/>
            <a:ln w="114300">
              <a:solidFill>
                <a:schemeClr val="accent4">
                  <a:alpha val="97000"/>
                </a:schemeClr>
              </a:solidFill>
            </a:ln>
          </p:spPr>
          <p:style>
            <a:lnRef idx="1">
              <a:srgbClr val="002B49"/>
            </a:lnRef>
            <a:fillRef idx="0">
              <a:srgbClr val="002B49"/>
            </a:fillRef>
            <a:effectRef idx="0">
              <a:srgbClr val="002B49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72" name="Arc 1027">
              <a:extLst>
                <a:ext uri="{FF2B5EF4-FFF2-40B4-BE49-F238E27FC236}">
                  <a16:creationId xmlns:a16="http://schemas.microsoft.com/office/drawing/2014/main" id="{576B74C4-AC62-455A-951E-4FA78DBF4080}"/>
                </a:ext>
              </a:extLst>
            </p:cNvPr>
            <p:cNvSpPr/>
            <p:nvPr/>
          </p:nvSpPr>
          <p:spPr>
            <a:xfrm>
              <a:off x="682647" y="1357562"/>
              <a:ext cx="2167560" cy="2298582"/>
            </a:xfrm>
            <a:prstGeom prst="arc">
              <a:avLst>
                <a:gd name="adj1" fmla="val 5017920"/>
                <a:gd name="adj2" fmla="val 5768886"/>
              </a:avLst>
            </a:prstGeom>
            <a:noFill/>
            <a:ln w="114300">
              <a:solidFill>
                <a:schemeClr val="accent6">
                  <a:alpha val="97000"/>
                </a:schemeClr>
              </a:solidFill>
            </a:ln>
          </p:spPr>
          <p:style>
            <a:lnRef idx="1">
              <a:srgbClr val="002B49"/>
            </a:lnRef>
            <a:fillRef idx="0">
              <a:srgbClr val="002B49"/>
            </a:fillRef>
            <a:effectRef idx="0">
              <a:srgbClr val="002B49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73" name="Text Box 7_">
              <a:extLst>
                <a:ext uri="{FF2B5EF4-FFF2-40B4-BE49-F238E27FC236}">
                  <a16:creationId xmlns:a16="http://schemas.microsoft.com/office/drawing/2014/main" id="{8F8EEE2B-FDE2-4071-95A8-DBDFBA7B8F1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92714" y="1801612"/>
              <a:ext cx="831571" cy="285758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square" lIns="0" tIns="12697" rIns="0" bIns="0">
              <a:spAutoFit/>
            </a:bodyPr>
            <a:lstStyle/>
            <a:p>
              <a:pPr marL="0" marR="0" lvl="0" indent="0" algn="l" defTabSz="839536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srgbClr val="002B49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rPr>
                <a:t>Unified</a:t>
              </a:r>
            </a:p>
          </p:txBody>
        </p:sp>
        <p:sp>
          <p:nvSpPr>
            <p:cNvPr id="74" name="Text Box 7_______">
              <a:extLst>
                <a:ext uri="{FF2B5EF4-FFF2-40B4-BE49-F238E27FC236}">
                  <a16:creationId xmlns:a16="http://schemas.microsoft.com/office/drawing/2014/main" id="{D91653A2-BEDC-4C6E-A07C-7F41F66B06A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81147" y="2588761"/>
              <a:ext cx="1732476" cy="610007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square" lIns="0" tIns="12697" rIns="0" bIns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srgbClr val="002B49"/>
                  </a:solidFill>
                  <a:effectLst/>
                  <a:uLnTx/>
                  <a:uFillTx/>
                  <a:latin typeface="Bosch Office Sans"/>
                  <a:ea typeface="+mn-ea"/>
                  <a:cs typeface="Bosch Office Sans"/>
                </a:rPr>
                <a:t>in </a:t>
              </a: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srgbClr val="002B49"/>
                  </a:solidFill>
                  <a:effectLst/>
                  <a:uLnTx/>
                  <a:uFillTx/>
                  <a:latin typeface="Bosch Office Sans"/>
                  <a:ea typeface="+mn-ea"/>
                  <a:cs typeface="Bosch Office Sans"/>
                </a:rPr>
                <a:t>NEXO</a:t>
              </a:r>
              <a:r>
                <a: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srgbClr val="002B49"/>
                  </a:solidFill>
                  <a:effectLst/>
                  <a:uLnTx/>
                  <a:uFillTx/>
                  <a:latin typeface="Bosch Office Sans"/>
                  <a:ea typeface="+mn-ea"/>
                  <a:cs typeface="Bosch Office Sans"/>
                </a:rPr>
                <a:t> and </a:t>
              </a: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srgbClr val="002B49"/>
                  </a:solidFill>
                  <a:effectLst/>
                  <a:uLnTx/>
                  <a:uFillTx/>
                  <a:latin typeface="Bosch Office Sans"/>
                  <a:ea typeface="+mn-ea"/>
                  <a:cs typeface="Bosch Office Sans"/>
                </a:rPr>
                <a:t>CONTROLLER</a:t>
              </a:r>
            </a:p>
          </p:txBody>
        </p:sp>
        <p:sp>
          <p:nvSpPr>
            <p:cNvPr id="75" name="Textfeld 74">
              <a:extLst>
                <a:ext uri="{FF2B5EF4-FFF2-40B4-BE49-F238E27FC236}">
                  <a16:creationId xmlns:a16="http://schemas.microsoft.com/office/drawing/2014/main" id="{6A9A20D5-A392-4685-BC9E-6E975193B182}"/>
                </a:ext>
              </a:extLst>
            </p:cNvPr>
            <p:cNvSpPr txBox="1"/>
            <p:nvPr/>
          </p:nvSpPr>
          <p:spPr>
            <a:xfrm>
              <a:off x="1766979" y="1705015"/>
              <a:ext cx="1014516" cy="40225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81000" tIns="9540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2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osch Sans Black" pitchFamily="2" charset="0"/>
                  <a:ea typeface="+mn-ea"/>
                  <a:cs typeface="+mn-cs"/>
                </a:rPr>
                <a:t>WIFI </a:t>
              </a:r>
            </a:p>
          </p:txBody>
        </p:sp>
        <p:sp>
          <p:nvSpPr>
            <p:cNvPr id="76" name="Textfeld 75">
              <a:extLst>
                <a:ext uri="{FF2B5EF4-FFF2-40B4-BE49-F238E27FC236}">
                  <a16:creationId xmlns:a16="http://schemas.microsoft.com/office/drawing/2014/main" id="{667B2A16-0D9F-4117-99EB-26C2FCB0BEA4}"/>
                </a:ext>
              </a:extLst>
            </p:cNvPr>
            <p:cNvSpPr txBox="1"/>
            <p:nvPr/>
          </p:nvSpPr>
          <p:spPr>
            <a:xfrm>
              <a:off x="1251598" y="2190943"/>
              <a:ext cx="1404327" cy="40225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81000" tIns="9900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2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osch Sans Black" pitchFamily="2" charset="0"/>
                  <a:ea typeface="+mn-ea"/>
                  <a:cs typeface="+mn-cs"/>
                </a:rPr>
                <a:t>MODUL</a:t>
              </a:r>
            </a:p>
          </p:txBody>
        </p: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9A40D79B-2191-4297-9029-B9A1831662A8}"/>
              </a:ext>
            </a:extLst>
          </p:cNvPr>
          <p:cNvGrpSpPr/>
          <p:nvPr/>
        </p:nvGrpSpPr>
        <p:grpSpPr>
          <a:xfrm>
            <a:off x="7463893" y="2484298"/>
            <a:ext cx="2021896" cy="1390242"/>
            <a:chOff x="681545" y="1354697"/>
            <a:chExt cx="2021896" cy="1390242"/>
          </a:xfrm>
        </p:grpSpPr>
        <p:sp>
          <p:nvSpPr>
            <p:cNvPr id="20" name="Oval 11">
              <a:extLst>
                <a:ext uri="{FF2B5EF4-FFF2-40B4-BE49-F238E27FC236}">
                  <a16:creationId xmlns:a16="http://schemas.microsoft.com/office/drawing/2014/main" id="{2D7F6643-B4D0-49A3-B136-2BC56FD3640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0031" y="1354697"/>
              <a:ext cx="1385999" cy="1386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21" name="Arc 1026">
              <a:extLst>
                <a:ext uri="{FF2B5EF4-FFF2-40B4-BE49-F238E27FC236}">
                  <a16:creationId xmlns:a16="http://schemas.microsoft.com/office/drawing/2014/main" id="{76D1CCBA-080A-4A6E-8788-3EB927C84032}"/>
                </a:ext>
              </a:extLst>
            </p:cNvPr>
            <p:cNvSpPr/>
            <p:nvPr/>
          </p:nvSpPr>
          <p:spPr>
            <a:xfrm>
              <a:off x="681924" y="1358939"/>
              <a:ext cx="1386000" cy="1386000"/>
            </a:xfrm>
            <a:prstGeom prst="arc">
              <a:avLst>
                <a:gd name="adj1" fmla="val 9792449"/>
                <a:gd name="adj2" fmla="val 35156"/>
              </a:avLst>
            </a:prstGeom>
            <a:noFill/>
            <a:ln w="114300">
              <a:solidFill>
                <a:schemeClr val="accent2"/>
              </a:solidFill>
            </a:ln>
          </p:spPr>
          <p:style>
            <a:lnRef idx="1">
              <a:srgbClr val="002B49"/>
            </a:lnRef>
            <a:fillRef idx="0">
              <a:srgbClr val="002B49"/>
            </a:fillRef>
            <a:effectRef idx="0">
              <a:srgbClr val="002B49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22" name="Arc 1027">
              <a:extLst>
                <a:ext uri="{FF2B5EF4-FFF2-40B4-BE49-F238E27FC236}">
                  <a16:creationId xmlns:a16="http://schemas.microsoft.com/office/drawing/2014/main" id="{7CA94FE5-E5BF-40AB-8381-DEF6E46A6F20}"/>
                </a:ext>
              </a:extLst>
            </p:cNvPr>
            <p:cNvSpPr/>
            <p:nvPr/>
          </p:nvSpPr>
          <p:spPr>
            <a:xfrm>
              <a:off x="681924" y="1358939"/>
              <a:ext cx="1386000" cy="1386000"/>
            </a:xfrm>
            <a:prstGeom prst="arc">
              <a:avLst>
                <a:gd name="adj1" fmla="val 565595"/>
                <a:gd name="adj2" fmla="val 4586588"/>
              </a:avLst>
            </a:prstGeom>
            <a:noFill/>
            <a:ln w="114300">
              <a:solidFill>
                <a:schemeClr val="accent3">
                  <a:alpha val="97000"/>
                </a:schemeClr>
              </a:solidFill>
            </a:ln>
          </p:spPr>
          <p:style>
            <a:lnRef idx="1">
              <a:srgbClr val="002B49"/>
            </a:lnRef>
            <a:fillRef idx="0">
              <a:srgbClr val="002B49"/>
            </a:fillRef>
            <a:effectRef idx="0">
              <a:srgbClr val="002B49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23" name="Arc 1027">
              <a:extLst>
                <a:ext uri="{FF2B5EF4-FFF2-40B4-BE49-F238E27FC236}">
                  <a16:creationId xmlns:a16="http://schemas.microsoft.com/office/drawing/2014/main" id="{F92ACC7A-E0F3-4324-AB06-DDF6B21CE9C4}"/>
                </a:ext>
              </a:extLst>
            </p:cNvPr>
            <p:cNvSpPr/>
            <p:nvPr/>
          </p:nvSpPr>
          <p:spPr>
            <a:xfrm>
              <a:off x="681545" y="1357564"/>
              <a:ext cx="1386000" cy="1386000"/>
            </a:xfrm>
            <a:prstGeom prst="arc">
              <a:avLst>
                <a:gd name="adj1" fmla="val 6169313"/>
                <a:gd name="adj2" fmla="val 9372053"/>
              </a:avLst>
            </a:prstGeom>
            <a:noFill/>
            <a:ln w="114300">
              <a:solidFill>
                <a:schemeClr val="accent4">
                  <a:alpha val="97000"/>
                </a:schemeClr>
              </a:solidFill>
            </a:ln>
          </p:spPr>
          <p:style>
            <a:lnRef idx="1">
              <a:srgbClr val="002B49"/>
            </a:lnRef>
            <a:fillRef idx="0">
              <a:srgbClr val="002B49"/>
            </a:fillRef>
            <a:effectRef idx="0">
              <a:srgbClr val="002B49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24" name="Arc 1027">
              <a:extLst>
                <a:ext uri="{FF2B5EF4-FFF2-40B4-BE49-F238E27FC236}">
                  <a16:creationId xmlns:a16="http://schemas.microsoft.com/office/drawing/2014/main" id="{3E943F5E-0812-47E0-B683-0BDCE04F5516}"/>
                </a:ext>
              </a:extLst>
            </p:cNvPr>
            <p:cNvSpPr/>
            <p:nvPr/>
          </p:nvSpPr>
          <p:spPr>
            <a:xfrm>
              <a:off x="682649" y="1357564"/>
              <a:ext cx="1386000" cy="1386000"/>
            </a:xfrm>
            <a:prstGeom prst="arc">
              <a:avLst>
                <a:gd name="adj1" fmla="val 5017920"/>
                <a:gd name="adj2" fmla="val 5768886"/>
              </a:avLst>
            </a:prstGeom>
            <a:noFill/>
            <a:ln w="114300">
              <a:solidFill>
                <a:schemeClr val="accent6">
                  <a:alpha val="97000"/>
                </a:schemeClr>
              </a:solidFill>
            </a:ln>
          </p:spPr>
          <p:style>
            <a:lnRef idx="1">
              <a:srgbClr val="002B49"/>
            </a:lnRef>
            <a:fillRef idx="0">
              <a:srgbClr val="002B49"/>
            </a:fillRef>
            <a:effectRef idx="0">
              <a:srgbClr val="002B49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25" name="Text Box 7_">
              <a:extLst>
                <a:ext uri="{FF2B5EF4-FFF2-40B4-BE49-F238E27FC236}">
                  <a16:creationId xmlns:a16="http://schemas.microsoft.com/office/drawing/2014/main" id="{82056B20-FD77-4972-A607-590C1280947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39559" y="1664154"/>
              <a:ext cx="831572" cy="179020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square" lIns="0" tIns="12697" rIns="0" bIns="0">
              <a:spAutoFit/>
            </a:bodyPr>
            <a:lstStyle/>
            <a:p>
              <a:pPr marL="0" marR="0" lvl="0" indent="0" algn="l" defTabSz="839536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2B49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rPr>
                <a:t>Universal</a:t>
              </a:r>
            </a:p>
          </p:txBody>
        </p:sp>
        <p:sp>
          <p:nvSpPr>
            <p:cNvPr id="26" name="Text Box 7_______">
              <a:extLst>
                <a:ext uri="{FF2B5EF4-FFF2-40B4-BE49-F238E27FC236}">
                  <a16:creationId xmlns:a16="http://schemas.microsoft.com/office/drawing/2014/main" id="{77D3DF11-9ACA-40DA-A521-9CE324DA053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83588" y="2124542"/>
              <a:ext cx="1006813" cy="382153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square" lIns="0" tIns="12697" rIns="0" bIns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2B49"/>
                  </a:solidFill>
                  <a:effectLst/>
                  <a:uLnTx/>
                  <a:uFillTx/>
                  <a:latin typeface="Bosch Office Sans"/>
                  <a:ea typeface="+mn-ea"/>
                  <a:cs typeface="Bosch Office Sans"/>
                </a:rPr>
                <a:t>for all cabled tools</a:t>
              </a:r>
            </a:p>
          </p:txBody>
        </p: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2A31CFC4-4F01-4439-8777-9AD6A2150F5B}"/>
                </a:ext>
              </a:extLst>
            </p:cNvPr>
            <p:cNvSpPr txBox="1"/>
            <p:nvPr/>
          </p:nvSpPr>
          <p:spPr>
            <a:xfrm>
              <a:off x="1097093" y="1861368"/>
              <a:ext cx="1606348" cy="271961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81000" tIns="9540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2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osch Sans Black" pitchFamily="2" charset="0"/>
                  <a:ea typeface="+mn-ea"/>
                  <a:cs typeface="+mn-cs"/>
                </a:rPr>
                <a:t>CONTROLLER</a:t>
              </a:r>
            </a:p>
          </p:txBody>
        </p:sp>
      </p:grpSp>
      <p:grpSp>
        <p:nvGrpSpPr>
          <p:cNvPr id="98" name="Gruppieren 97">
            <a:extLst>
              <a:ext uri="{FF2B5EF4-FFF2-40B4-BE49-F238E27FC236}">
                <a16:creationId xmlns:a16="http://schemas.microsoft.com/office/drawing/2014/main" id="{A60A61D4-3C7C-4E0D-971C-C8740058F4EF}"/>
              </a:ext>
            </a:extLst>
          </p:cNvPr>
          <p:cNvGrpSpPr>
            <a:grpSpLocks noChangeAspect="1"/>
          </p:cNvGrpSpPr>
          <p:nvPr/>
        </p:nvGrpSpPr>
        <p:grpSpPr>
          <a:xfrm>
            <a:off x="9292675" y="3237455"/>
            <a:ext cx="1562043" cy="1324800"/>
            <a:chOff x="681545" y="1354697"/>
            <a:chExt cx="2466273" cy="2218132"/>
          </a:xfrm>
        </p:grpSpPr>
        <p:sp>
          <p:nvSpPr>
            <p:cNvPr id="99" name="Oval 11">
              <a:extLst>
                <a:ext uri="{FF2B5EF4-FFF2-40B4-BE49-F238E27FC236}">
                  <a16:creationId xmlns:a16="http://schemas.microsoft.com/office/drawing/2014/main" id="{48D9FD26-FD4B-48FF-A461-6DD379DA812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0030" y="1354697"/>
              <a:ext cx="2086011" cy="2212104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100" name="Arc 1026">
              <a:extLst>
                <a:ext uri="{FF2B5EF4-FFF2-40B4-BE49-F238E27FC236}">
                  <a16:creationId xmlns:a16="http://schemas.microsoft.com/office/drawing/2014/main" id="{1B672DDB-E154-4E7C-BF5D-5EBFE69373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1924" y="1358940"/>
              <a:ext cx="2086011" cy="2213889"/>
            </a:xfrm>
            <a:prstGeom prst="arc">
              <a:avLst>
                <a:gd name="adj1" fmla="val 9792449"/>
                <a:gd name="adj2" fmla="val 35156"/>
              </a:avLst>
            </a:prstGeom>
            <a:noFill/>
            <a:ln w="114300">
              <a:solidFill>
                <a:schemeClr val="accent2"/>
              </a:solidFill>
            </a:ln>
          </p:spPr>
          <p:style>
            <a:lnRef idx="1">
              <a:srgbClr val="002B49"/>
            </a:lnRef>
            <a:fillRef idx="0">
              <a:srgbClr val="002B49"/>
            </a:fillRef>
            <a:effectRef idx="0">
              <a:srgbClr val="002B49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101" name="Arc 1027">
              <a:extLst>
                <a:ext uri="{FF2B5EF4-FFF2-40B4-BE49-F238E27FC236}">
                  <a16:creationId xmlns:a16="http://schemas.microsoft.com/office/drawing/2014/main" id="{EB0B353E-2395-42AB-9955-0BBBF59E947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1924" y="1358940"/>
              <a:ext cx="2086011" cy="2213889"/>
            </a:xfrm>
            <a:prstGeom prst="arc">
              <a:avLst>
                <a:gd name="adj1" fmla="val 565595"/>
                <a:gd name="adj2" fmla="val 4586588"/>
              </a:avLst>
            </a:prstGeom>
            <a:noFill/>
            <a:ln w="114300">
              <a:solidFill>
                <a:schemeClr val="accent3">
                  <a:alpha val="97000"/>
                </a:schemeClr>
              </a:solidFill>
            </a:ln>
          </p:spPr>
          <p:style>
            <a:lnRef idx="1">
              <a:srgbClr val="002B49"/>
            </a:lnRef>
            <a:fillRef idx="0">
              <a:srgbClr val="002B49"/>
            </a:fillRef>
            <a:effectRef idx="0">
              <a:srgbClr val="002B49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102" name="Arc 1027">
              <a:extLst>
                <a:ext uri="{FF2B5EF4-FFF2-40B4-BE49-F238E27FC236}">
                  <a16:creationId xmlns:a16="http://schemas.microsoft.com/office/drawing/2014/main" id="{837DE883-18A2-402A-8BF1-D0D945AF2DA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1545" y="1357563"/>
              <a:ext cx="2086011" cy="2213889"/>
            </a:xfrm>
            <a:prstGeom prst="arc">
              <a:avLst>
                <a:gd name="adj1" fmla="val 6169313"/>
                <a:gd name="adj2" fmla="val 9372053"/>
              </a:avLst>
            </a:prstGeom>
            <a:noFill/>
            <a:ln w="114300">
              <a:solidFill>
                <a:schemeClr val="accent4">
                  <a:alpha val="97000"/>
                </a:schemeClr>
              </a:solidFill>
            </a:ln>
          </p:spPr>
          <p:style>
            <a:lnRef idx="1">
              <a:srgbClr val="002B49"/>
            </a:lnRef>
            <a:fillRef idx="0">
              <a:srgbClr val="002B49"/>
            </a:fillRef>
            <a:effectRef idx="0">
              <a:srgbClr val="002B49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103" name="Arc 1027">
              <a:extLst>
                <a:ext uri="{FF2B5EF4-FFF2-40B4-BE49-F238E27FC236}">
                  <a16:creationId xmlns:a16="http://schemas.microsoft.com/office/drawing/2014/main" id="{FDF989EB-E88F-4CFB-A7B7-5A60FADD5EFC}"/>
                </a:ext>
              </a:extLst>
            </p:cNvPr>
            <p:cNvSpPr/>
            <p:nvPr/>
          </p:nvSpPr>
          <p:spPr>
            <a:xfrm>
              <a:off x="682649" y="1357563"/>
              <a:ext cx="2086011" cy="2213889"/>
            </a:xfrm>
            <a:prstGeom prst="arc">
              <a:avLst>
                <a:gd name="adj1" fmla="val 5017920"/>
                <a:gd name="adj2" fmla="val 5768886"/>
              </a:avLst>
            </a:prstGeom>
            <a:noFill/>
            <a:ln w="114300">
              <a:solidFill>
                <a:schemeClr val="accent6">
                  <a:alpha val="97000"/>
                </a:schemeClr>
              </a:solidFill>
            </a:ln>
          </p:spPr>
          <p:style>
            <a:lnRef idx="1">
              <a:srgbClr val="002B49"/>
            </a:lnRef>
            <a:fillRef idx="0">
              <a:srgbClr val="002B49"/>
            </a:fillRef>
            <a:effectRef idx="0">
              <a:srgbClr val="002B49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104" name="Text Box 7_">
              <a:extLst>
                <a:ext uri="{FF2B5EF4-FFF2-40B4-BE49-F238E27FC236}">
                  <a16:creationId xmlns:a16="http://schemas.microsoft.com/office/drawing/2014/main" id="{A078FDD2-80B0-47AA-A8E5-CDD57E1CF57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40095" y="1742560"/>
              <a:ext cx="831572" cy="299736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square" lIns="0" tIns="12697" rIns="0" bIns="0">
              <a:spAutoFit/>
            </a:bodyPr>
            <a:lstStyle/>
            <a:p>
              <a:pPr marL="0" marR="0" lvl="0" indent="0" algn="l" defTabSz="839536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2B49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rPr>
                <a:t>One</a:t>
              </a:r>
            </a:p>
          </p:txBody>
        </p:sp>
        <p:sp>
          <p:nvSpPr>
            <p:cNvPr id="105" name="Text Box 7_______">
              <a:extLst>
                <a:ext uri="{FF2B5EF4-FFF2-40B4-BE49-F238E27FC236}">
                  <a16:creationId xmlns:a16="http://schemas.microsoft.com/office/drawing/2014/main" id="{5D4C254D-89F9-4E76-B403-EF77460E1A3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78764" y="2629092"/>
              <a:ext cx="1732476" cy="639844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square" lIns="0" tIns="12697" rIns="0" bIns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2B49"/>
                  </a:solidFill>
                  <a:effectLst/>
                  <a:uLnTx/>
                  <a:uFillTx/>
                  <a:latin typeface="Bosch Office Sans"/>
                  <a:ea typeface="+mn-ea"/>
                  <a:cs typeface="Bosch Office Sans"/>
                </a:rPr>
                <a:t>for all tools and controllers</a:t>
              </a:r>
            </a:p>
          </p:txBody>
        </p:sp>
        <p:sp>
          <p:nvSpPr>
            <p:cNvPr id="107" name="Textfeld 106">
              <a:extLst>
                <a:ext uri="{FF2B5EF4-FFF2-40B4-BE49-F238E27FC236}">
                  <a16:creationId xmlns:a16="http://schemas.microsoft.com/office/drawing/2014/main" id="{FAE40C23-0E00-4858-B852-78B756DA4D01}"/>
                </a:ext>
              </a:extLst>
            </p:cNvPr>
            <p:cNvSpPr txBox="1"/>
            <p:nvPr/>
          </p:nvSpPr>
          <p:spPr>
            <a:xfrm>
              <a:off x="1415342" y="2146226"/>
              <a:ext cx="1732476" cy="421927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81000" tIns="9900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2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osch Sans Black" pitchFamily="2" charset="0"/>
                  <a:ea typeface="+mn-ea"/>
                  <a:cs typeface="+mn-cs"/>
                </a:rPr>
                <a:t>DISPLAY</a:t>
              </a:r>
            </a:p>
          </p:txBody>
        </p:sp>
      </p:grpSp>
      <p:pic>
        <p:nvPicPr>
          <p:cNvPr id="91" name="Grafik 90">
            <a:extLst>
              <a:ext uri="{FF2B5EF4-FFF2-40B4-BE49-F238E27FC236}">
                <a16:creationId xmlns:a16="http://schemas.microsoft.com/office/drawing/2014/main" id="{3E1A211A-A0E5-4800-8230-81E127EFB35E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5370"/>
          <a:stretch/>
        </p:blipFill>
        <p:spPr>
          <a:xfrm>
            <a:off x="3828812" y="1424056"/>
            <a:ext cx="3312000" cy="3322501"/>
          </a:xfrm>
          <a:prstGeom prst="ellipse">
            <a:avLst/>
          </a:prstGeom>
          <a:effectLst>
            <a:glow rad="228600">
              <a:srgbClr val="4180D4"/>
            </a:glow>
          </a:effectLst>
        </p:spPr>
      </p:pic>
      <p:pic>
        <p:nvPicPr>
          <p:cNvPr id="96" name="Grafik 95">
            <a:extLst>
              <a:ext uri="{FF2B5EF4-FFF2-40B4-BE49-F238E27FC236}">
                <a16:creationId xmlns:a16="http://schemas.microsoft.com/office/drawing/2014/main" id="{EF3E42CA-9C31-41ED-AB4D-8368BE4F62F9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20000" b="89651" l="32000" r="61563">
                        <a14:foregroundMark x1="35250" y1="28372" x2="42938" y2="28953"/>
                        <a14:foregroundMark x1="42938" y1="28953" x2="50625" y2="28256"/>
                        <a14:foregroundMark x1="50625" y1="28256" x2="58875" y2="31047"/>
                        <a14:foregroundMark x1="43500" y1="32209" x2="49750" y2="31395"/>
                        <a14:foregroundMark x1="43938" y1="25581" x2="56813" y2="23837"/>
                        <a14:foregroundMark x1="43313" y1="25000" x2="48438" y2="20349"/>
                        <a14:foregroundMark x1="48438" y1="20349" x2="55313" y2="20116"/>
                        <a14:foregroundMark x1="55313" y1="20116" x2="57750" y2="20930"/>
                        <a14:foregroundMark x1="61563" y1="36279" x2="61187" y2="27209"/>
                        <a14:foregroundMark x1="58500" y1="37907" x2="50750" y2="35581"/>
                        <a14:foregroundMark x1="50750" y1="35581" x2="43688" y2="39070"/>
                        <a14:foregroundMark x1="43688" y1="39070" x2="38625" y2="36744"/>
                        <a14:foregroundMark x1="38625" y1="36744" x2="40438" y2="26163"/>
                        <a14:foregroundMark x1="40438" y1="26163" x2="41250" y2="26512"/>
                        <a14:foregroundMark x1="41250" y1="26512" x2="41250" y2="26512"/>
                        <a14:foregroundMark x1="32000" y1="31628" x2="34500" y2="32674"/>
                        <a14:foregroundMark x1="34250" y1="29651" x2="34250" y2="33953"/>
                        <a14:foregroundMark x1="34250" y1="29302" x2="34438" y2="35698"/>
                        <a14:foregroundMark x1="34313" y1="28488" x2="34250" y2="31163"/>
                        <a14:foregroundMark x1="33750" y1="35000" x2="33750" y2="31395"/>
                        <a14:foregroundMark x1="34125" y1="34186" x2="34250" y2="31512"/>
                        <a14:foregroundMark x1="34063" y1="34767" x2="34063" y2="29419"/>
                        <a14:foregroundMark x1="45938" y1="88721" x2="52188" y2="89186"/>
                        <a14:foregroundMark x1="52188" y1="89186" x2="57688" y2="87674"/>
                        <a14:foregroundMark x1="57688" y1="87674" x2="59062" y2="81395"/>
                        <a14:foregroundMark x1="45313" y1="90581" x2="50500" y2="89419"/>
                        <a14:foregroundMark x1="50500" y1="89419" x2="53063" y2="89651"/>
                      </a14:backgroundRemoval>
                    </a14:imgEffect>
                  </a14:imgLayer>
                </a14:imgProps>
              </a:ext>
            </a:extLst>
          </a:blip>
          <a:srcRect l="30688" t="18200" r="36057" b="6687"/>
          <a:stretch/>
        </p:blipFill>
        <p:spPr>
          <a:xfrm>
            <a:off x="4652536" y="1656891"/>
            <a:ext cx="1472829" cy="1765616"/>
          </a:xfrm>
          <a:prstGeom prst="rect">
            <a:avLst/>
          </a:prstGeom>
        </p:spPr>
      </p:pic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0AC8FD72-C729-4C3D-B260-E694BB1C2B40}"/>
              </a:ext>
            </a:extLst>
          </p:cNvPr>
          <p:cNvGrpSpPr/>
          <p:nvPr/>
        </p:nvGrpSpPr>
        <p:grpSpPr>
          <a:xfrm>
            <a:off x="6983483" y="4126752"/>
            <a:ext cx="2327447" cy="1442656"/>
            <a:chOff x="6983483" y="4126752"/>
            <a:chExt cx="2327447" cy="1442656"/>
          </a:xfrm>
        </p:grpSpPr>
        <p:sp>
          <p:nvSpPr>
            <p:cNvPr id="88" name="Oval 11">
              <a:extLst>
                <a:ext uri="{FF2B5EF4-FFF2-40B4-BE49-F238E27FC236}">
                  <a16:creationId xmlns:a16="http://schemas.microsoft.com/office/drawing/2014/main" id="{FE4267FA-FA75-4262-B178-1699E15DF095}"/>
                </a:ext>
              </a:extLst>
            </p:cNvPr>
            <p:cNvSpPr>
              <a:spLocks/>
            </p:cNvSpPr>
            <p:nvPr/>
          </p:nvSpPr>
          <p:spPr>
            <a:xfrm>
              <a:off x="6989120" y="4126752"/>
              <a:ext cx="1440000" cy="1440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89" name="Arc 1026">
              <a:extLst>
                <a:ext uri="{FF2B5EF4-FFF2-40B4-BE49-F238E27FC236}">
                  <a16:creationId xmlns:a16="http://schemas.microsoft.com/office/drawing/2014/main" id="{26480FE6-8746-4F66-B056-ADEFF662E435}"/>
                </a:ext>
              </a:extLst>
            </p:cNvPr>
            <p:cNvSpPr/>
            <p:nvPr/>
          </p:nvSpPr>
          <p:spPr>
            <a:xfrm>
              <a:off x="6983735" y="4129408"/>
              <a:ext cx="1440000" cy="1440000"/>
            </a:xfrm>
            <a:prstGeom prst="arc">
              <a:avLst>
                <a:gd name="adj1" fmla="val 9792449"/>
                <a:gd name="adj2" fmla="val 35156"/>
              </a:avLst>
            </a:prstGeom>
            <a:noFill/>
            <a:ln w="114300">
              <a:solidFill>
                <a:schemeClr val="accent2"/>
              </a:solidFill>
            </a:ln>
          </p:spPr>
          <p:style>
            <a:lnRef idx="1">
              <a:srgbClr val="002B49"/>
            </a:lnRef>
            <a:fillRef idx="0">
              <a:srgbClr val="002B49"/>
            </a:fillRef>
            <a:effectRef idx="0">
              <a:srgbClr val="002B49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90" name="Arc 1027">
              <a:extLst>
                <a:ext uri="{FF2B5EF4-FFF2-40B4-BE49-F238E27FC236}">
                  <a16:creationId xmlns:a16="http://schemas.microsoft.com/office/drawing/2014/main" id="{844DAE27-C138-441D-A027-C3F51106EFDF}"/>
                </a:ext>
              </a:extLst>
            </p:cNvPr>
            <p:cNvSpPr/>
            <p:nvPr/>
          </p:nvSpPr>
          <p:spPr>
            <a:xfrm>
              <a:off x="6983735" y="4129408"/>
              <a:ext cx="1440000" cy="1440000"/>
            </a:xfrm>
            <a:prstGeom prst="arc">
              <a:avLst>
                <a:gd name="adj1" fmla="val 565595"/>
                <a:gd name="adj2" fmla="val 4586588"/>
              </a:avLst>
            </a:prstGeom>
            <a:noFill/>
            <a:ln w="114300">
              <a:solidFill>
                <a:schemeClr val="accent3">
                  <a:alpha val="97000"/>
                </a:schemeClr>
              </a:solidFill>
            </a:ln>
          </p:spPr>
          <p:style>
            <a:lnRef idx="1">
              <a:srgbClr val="002B49"/>
            </a:lnRef>
            <a:fillRef idx="0">
              <a:srgbClr val="002B49"/>
            </a:fillRef>
            <a:effectRef idx="0">
              <a:srgbClr val="002B49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92" name="Arc 1027">
              <a:extLst>
                <a:ext uri="{FF2B5EF4-FFF2-40B4-BE49-F238E27FC236}">
                  <a16:creationId xmlns:a16="http://schemas.microsoft.com/office/drawing/2014/main" id="{7CC9C2F7-CAED-4828-8FF3-1D968CA859E8}"/>
                </a:ext>
              </a:extLst>
            </p:cNvPr>
            <p:cNvSpPr/>
            <p:nvPr/>
          </p:nvSpPr>
          <p:spPr>
            <a:xfrm>
              <a:off x="6983483" y="4128547"/>
              <a:ext cx="1440000" cy="1440000"/>
            </a:xfrm>
            <a:prstGeom prst="arc">
              <a:avLst>
                <a:gd name="adj1" fmla="val 6169313"/>
                <a:gd name="adj2" fmla="val 9372053"/>
              </a:avLst>
            </a:prstGeom>
            <a:noFill/>
            <a:ln w="114300">
              <a:solidFill>
                <a:schemeClr val="accent4">
                  <a:alpha val="97000"/>
                </a:schemeClr>
              </a:solidFill>
            </a:ln>
          </p:spPr>
          <p:style>
            <a:lnRef idx="1">
              <a:srgbClr val="002B49"/>
            </a:lnRef>
            <a:fillRef idx="0">
              <a:srgbClr val="002B49"/>
            </a:fillRef>
            <a:effectRef idx="0">
              <a:srgbClr val="002B49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93" name="Arc 1027">
              <a:extLst>
                <a:ext uri="{FF2B5EF4-FFF2-40B4-BE49-F238E27FC236}">
                  <a16:creationId xmlns:a16="http://schemas.microsoft.com/office/drawing/2014/main" id="{ACB93D71-0D97-4675-B9A1-BC7FDB81C676}"/>
                </a:ext>
              </a:extLst>
            </p:cNvPr>
            <p:cNvSpPr/>
            <p:nvPr/>
          </p:nvSpPr>
          <p:spPr>
            <a:xfrm>
              <a:off x="6984216" y="4128547"/>
              <a:ext cx="1440000" cy="1440000"/>
            </a:xfrm>
            <a:prstGeom prst="arc">
              <a:avLst>
                <a:gd name="adj1" fmla="val 5017920"/>
                <a:gd name="adj2" fmla="val 5768886"/>
              </a:avLst>
            </a:prstGeom>
            <a:noFill/>
            <a:ln w="114300">
              <a:solidFill>
                <a:schemeClr val="accent6">
                  <a:alpha val="97000"/>
                </a:schemeClr>
              </a:solidFill>
            </a:ln>
          </p:spPr>
          <p:style>
            <a:lnRef idx="1">
              <a:srgbClr val="002B49"/>
            </a:lnRef>
            <a:fillRef idx="0">
              <a:srgbClr val="002B49"/>
            </a:fillRef>
            <a:effectRef idx="0">
              <a:srgbClr val="002B49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94" name="Text Box 7_">
              <a:extLst>
                <a:ext uri="{FF2B5EF4-FFF2-40B4-BE49-F238E27FC236}">
                  <a16:creationId xmlns:a16="http://schemas.microsoft.com/office/drawing/2014/main" id="{E313B9C2-DD16-41F1-8627-E588875DE49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187670" y="4431317"/>
              <a:ext cx="552447" cy="179020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square" lIns="0" tIns="12697" rIns="0" bIns="0">
              <a:spAutoFit/>
            </a:bodyPr>
            <a:lstStyle/>
            <a:p>
              <a:pPr marL="0" marR="0" lvl="0" indent="0" algn="l" defTabSz="839536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srgbClr val="002B49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rPr>
                <a:t>Unified</a:t>
              </a:r>
            </a:p>
          </p:txBody>
        </p:sp>
        <p:sp>
          <p:nvSpPr>
            <p:cNvPr id="97" name="Text Box 7_______">
              <a:extLst>
                <a:ext uri="{FF2B5EF4-FFF2-40B4-BE49-F238E27FC236}">
                  <a16:creationId xmlns:a16="http://schemas.microsoft.com/office/drawing/2014/main" id="{285E96A5-0B5D-4ADD-A8F6-3FC58FD53D7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148455" y="4956504"/>
              <a:ext cx="1150955" cy="197487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square" lIns="0" tIns="12697" rIns="0" bIns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2B49"/>
                </a:solidFill>
                <a:effectLst/>
                <a:uLnTx/>
                <a:uFillTx/>
                <a:latin typeface="Bosch Office Sans"/>
                <a:ea typeface="+mn-ea"/>
                <a:cs typeface="Bosch Office Sans"/>
              </a:endParaRPr>
            </a:p>
          </p:txBody>
        </p:sp>
        <p:sp>
          <p:nvSpPr>
            <p:cNvPr id="106" name="Textfeld 105">
              <a:extLst>
                <a:ext uri="{FF2B5EF4-FFF2-40B4-BE49-F238E27FC236}">
                  <a16:creationId xmlns:a16="http://schemas.microsoft.com/office/drawing/2014/main" id="{CE71476B-67C3-4D43-9169-7AB7EAD35B7B}"/>
                </a:ext>
              </a:extLst>
            </p:cNvPr>
            <p:cNvSpPr txBox="1"/>
            <p:nvPr/>
          </p:nvSpPr>
          <p:spPr>
            <a:xfrm>
              <a:off x="7704582" y="4362401"/>
              <a:ext cx="1606348" cy="25200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81000" tIns="9540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2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osch Sans Black" pitchFamily="2" charset="0"/>
                  <a:ea typeface="+mn-ea"/>
                  <a:cs typeface="+mn-cs"/>
                </a:rPr>
                <a:t>CONTROLLER </a:t>
              </a:r>
            </a:p>
          </p:txBody>
        </p:sp>
        <p:sp>
          <p:nvSpPr>
            <p:cNvPr id="108" name="Textfeld 107">
              <a:extLst>
                <a:ext uri="{FF2B5EF4-FFF2-40B4-BE49-F238E27FC236}">
                  <a16:creationId xmlns:a16="http://schemas.microsoft.com/office/drawing/2014/main" id="{56D43039-8DF0-493E-9C82-260A6CD028C4}"/>
                </a:ext>
              </a:extLst>
            </p:cNvPr>
            <p:cNvSpPr txBox="1"/>
            <p:nvPr/>
          </p:nvSpPr>
          <p:spPr>
            <a:xfrm>
              <a:off x="7337916" y="4650638"/>
              <a:ext cx="1635488" cy="25200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81000" tIns="9900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2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osch Sans Black" pitchFamily="2" charset="0"/>
                  <a:ea typeface="+mn-ea"/>
                  <a:cs typeface="+mn-cs"/>
                </a:rPr>
                <a:t>ELECTRONICS</a:t>
              </a:r>
            </a:p>
          </p:txBody>
        </p:sp>
        <p:sp>
          <p:nvSpPr>
            <p:cNvPr id="109" name="Text Box 7_______">
              <a:extLst>
                <a:ext uri="{FF2B5EF4-FFF2-40B4-BE49-F238E27FC236}">
                  <a16:creationId xmlns:a16="http://schemas.microsoft.com/office/drawing/2014/main" id="{4D22028C-FEEB-4B89-A3AC-661237FC1AA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124037" y="4904153"/>
              <a:ext cx="1150955" cy="382153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square" lIns="0" tIns="12697" rIns="0" bIns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srgbClr val="002B49"/>
                  </a:solidFill>
                  <a:effectLst/>
                  <a:uLnTx/>
                  <a:uFillTx/>
                  <a:latin typeface="Bosch Office Sans"/>
                  <a:ea typeface="+mn-ea"/>
                  <a:cs typeface="Bosch Office Sans"/>
                </a:rPr>
                <a:t>in </a:t>
              </a: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srgbClr val="002B49"/>
                  </a:solidFill>
                  <a:effectLst/>
                  <a:uLnTx/>
                  <a:uFillTx/>
                  <a:latin typeface="Bosch Office Sans"/>
                  <a:ea typeface="+mn-ea"/>
                  <a:cs typeface="Bosch Office Sans"/>
                </a:rPr>
                <a:t>NEXO</a:t>
              </a:r>
              <a:r>
                <a: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srgbClr val="002B49"/>
                  </a:solidFill>
                  <a:effectLst/>
                  <a:uLnTx/>
                  <a:uFillTx/>
                  <a:latin typeface="Bosch Office Sans"/>
                  <a:ea typeface="+mn-ea"/>
                  <a:cs typeface="Bosch Office Sans"/>
                </a:rPr>
                <a:t> and </a:t>
              </a: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srgbClr val="002B49"/>
                  </a:solidFill>
                  <a:effectLst/>
                  <a:uLnTx/>
                  <a:uFillTx/>
                  <a:latin typeface="Bosch Office Sans"/>
                  <a:ea typeface="+mn-ea"/>
                  <a:cs typeface="Bosch Office Sans"/>
                </a:rPr>
                <a:t>CONTROLLER</a:t>
              </a:r>
            </a:p>
          </p:txBody>
        </p:sp>
      </p:grpSp>
      <p:grpSp>
        <p:nvGrpSpPr>
          <p:cNvPr id="111" name="Gruppieren 110">
            <a:extLst>
              <a:ext uri="{FF2B5EF4-FFF2-40B4-BE49-F238E27FC236}">
                <a16:creationId xmlns:a16="http://schemas.microsoft.com/office/drawing/2014/main" id="{F050424E-2EE6-4402-A099-DE090FCACF63}"/>
              </a:ext>
            </a:extLst>
          </p:cNvPr>
          <p:cNvGrpSpPr/>
          <p:nvPr/>
        </p:nvGrpSpPr>
        <p:grpSpPr>
          <a:xfrm>
            <a:off x="364612" y="2916790"/>
            <a:ext cx="2077663" cy="2086647"/>
            <a:chOff x="151126" y="2402685"/>
            <a:chExt cx="2077663" cy="2086647"/>
          </a:xfrm>
        </p:grpSpPr>
        <p:grpSp>
          <p:nvGrpSpPr>
            <p:cNvPr id="85" name="Gruppieren 84">
              <a:extLst>
                <a:ext uri="{FF2B5EF4-FFF2-40B4-BE49-F238E27FC236}">
                  <a16:creationId xmlns:a16="http://schemas.microsoft.com/office/drawing/2014/main" id="{B7CA273A-5656-44B0-B192-0CA3B38C30BC}"/>
                </a:ext>
              </a:extLst>
            </p:cNvPr>
            <p:cNvGrpSpPr/>
            <p:nvPr/>
          </p:nvGrpSpPr>
          <p:grpSpPr>
            <a:xfrm>
              <a:off x="151126" y="2415545"/>
              <a:ext cx="2077663" cy="2073787"/>
              <a:chOff x="379641" y="2959125"/>
              <a:chExt cx="2077663" cy="2073787"/>
            </a:xfrm>
          </p:grpSpPr>
          <p:grpSp>
            <p:nvGrpSpPr>
              <p:cNvPr id="84" name="Gruppieren 83">
                <a:extLst>
                  <a:ext uri="{FF2B5EF4-FFF2-40B4-BE49-F238E27FC236}">
                    <a16:creationId xmlns:a16="http://schemas.microsoft.com/office/drawing/2014/main" id="{5D1790C5-6671-4CD6-8220-F2B6F35EFA72}"/>
                  </a:ext>
                </a:extLst>
              </p:cNvPr>
              <p:cNvGrpSpPr/>
              <p:nvPr/>
            </p:nvGrpSpPr>
            <p:grpSpPr>
              <a:xfrm>
                <a:off x="379995" y="2959125"/>
                <a:ext cx="2077309" cy="2073787"/>
                <a:chOff x="379995" y="2959125"/>
                <a:chExt cx="2077309" cy="2073787"/>
              </a:xfrm>
            </p:grpSpPr>
            <p:sp>
              <p:nvSpPr>
                <p:cNvPr id="34" name="Oval 11">
                  <a:extLst>
                    <a:ext uri="{FF2B5EF4-FFF2-40B4-BE49-F238E27FC236}">
                      <a16:creationId xmlns:a16="http://schemas.microsoft.com/office/drawing/2014/main" id="{6DE0E75B-A7AE-44AA-9D27-0B2ADE45E52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87574" y="2959125"/>
                  <a:ext cx="2069730" cy="2070000"/>
                </a:xfrm>
                <a:prstGeom prst="ellipse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Bosch Office Sans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Arc 1026">
                  <a:extLst>
                    <a:ext uri="{FF2B5EF4-FFF2-40B4-BE49-F238E27FC236}">
                      <a16:creationId xmlns:a16="http://schemas.microsoft.com/office/drawing/2014/main" id="{76446F6F-3FD4-4168-AD04-5669D6E3B4A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79995" y="2962912"/>
                  <a:ext cx="2069730" cy="2070000"/>
                </a:xfrm>
                <a:prstGeom prst="arc">
                  <a:avLst>
                    <a:gd name="adj1" fmla="val 9792449"/>
                    <a:gd name="adj2" fmla="val 35156"/>
                  </a:avLst>
                </a:prstGeom>
                <a:noFill/>
                <a:ln w="114300">
                  <a:solidFill>
                    <a:schemeClr val="accent2"/>
                  </a:solidFill>
                </a:ln>
              </p:spPr>
              <p:style>
                <a:lnRef idx="1">
                  <a:srgbClr val="002B49"/>
                </a:lnRef>
                <a:fillRef idx="0">
                  <a:srgbClr val="002B49"/>
                </a:fillRef>
                <a:effectRef idx="0">
                  <a:srgbClr val="002B49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Bosch Office Sans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Arc 1027">
                  <a:extLst>
                    <a:ext uri="{FF2B5EF4-FFF2-40B4-BE49-F238E27FC236}">
                      <a16:creationId xmlns:a16="http://schemas.microsoft.com/office/drawing/2014/main" id="{61DF6537-5E42-488F-BAB2-86DD4D9980B9}"/>
                    </a:ext>
                  </a:extLst>
                </p:cNvPr>
                <p:cNvSpPr/>
                <p:nvPr/>
              </p:nvSpPr>
              <p:spPr>
                <a:xfrm>
                  <a:off x="380673" y="2961685"/>
                  <a:ext cx="2069730" cy="2070000"/>
                </a:xfrm>
                <a:prstGeom prst="arc">
                  <a:avLst>
                    <a:gd name="adj1" fmla="val 5017920"/>
                    <a:gd name="adj2" fmla="val 5768886"/>
                  </a:avLst>
                </a:prstGeom>
                <a:noFill/>
                <a:ln w="114300">
                  <a:solidFill>
                    <a:schemeClr val="accent6">
                      <a:alpha val="97000"/>
                    </a:schemeClr>
                  </a:solidFill>
                </a:ln>
              </p:spPr>
              <p:style>
                <a:lnRef idx="1">
                  <a:srgbClr val="002B49"/>
                </a:lnRef>
                <a:fillRef idx="0">
                  <a:srgbClr val="002B49"/>
                </a:fillRef>
                <a:effectRef idx="0">
                  <a:srgbClr val="002B49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Bosch Office Sans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7" name="Arc 1027">
                <a:extLst>
                  <a:ext uri="{FF2B5EF4-FFF2-40B4-BE49-F238E27FC236}">
                    <a16:creationId xmlns:a16="http://schemas.microsoft.com/office/drawing/2014/main" id="{8EE35563-EC3A-44F3-AD60-E34CAB53A543}"/>
                  </a:ext>
                </a:extLst>
              </p:cNvPr>
              <p:cNvSpPr/>
              <p:nvPr/>
            </p:nvSpPr>
            <p:spPr>
              <a:xfrm>
                <a:off x="379641" y="2961685"/>
                <a:ext cx="2069730" cy="2070000"/>
              </a:xfrm>
              <a:prstGeom prst="arc">
                <a:avLst>
                  <a:gd name="adj1" fmla="val 6169313"/>
                  <a:gd name="adj2" fmla="val 9372053"/>
                </a:avLst>
              </a:prstGeom>
              <a:noFill/>
              <a:ln w="114300">
                <a:solidFill>
                  <a:schemeClr val="accent4">
                    <a:alpha val="97000"/>
                  </a:schemeClr>
                </a:solidFill>
              </a:ln>
            </p:spPr>
            <p:style>
              <a:lnRef idx="1">
                <a:srgbClr val="002B49"/>
              </a:lnRef>
              <a:fillRef idx="0">
                <a:srgbClr val="002B49"/>
              </a:fillRef>
              <a:effectRef idx="0">
                <a:srgbClr val="002B49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endParaRPr>
              </a:p>
            </p:txBody>
          </p:sp>
        </p:grpSp>
        <p:sp>
          <p:nvSpPr>
            <p:cNvPr id="36" name="Arc 1027">
              <a:extLst>
                <a:ext uri="{FF2B5EF4-FFF2-40B4-BE49-F238E27FC236}">
                  <a16:creationId xmlns:a16="http://schemas.microsoft.com/office/drawing/2014/main" id="{8AC1AA85-00AD-4533-A888-8B89F28F5AE6}"/>
                </a:ext>
              </a:extLst>
            </p:cNvPr>
            <p:cNvSpPr/>
            <p:nvPr/>
          </p:nvSpPr>
          <p:spPr>
            <a:xfrm>
              <a:off x="151126" y="2402685"/>
              <a:ext cx="2069730" cy="2070000"/>
            </a:xfrm>
            <a:prstGeom prst="arc">
              <a:avLst>
                <a:gd name="adj1" fmla="val 565595"/>
                <a:gd name="adj2" fmla="val 4586588"/>
              </a:avLst>
            </a:prstGeom>
            <a:noFill/>
            <a:ln w="114300">
              <a:solidFill>
                <a:schemeClr val="accent3">
                  <a:alpha val="97000"/>
                </a:schemeClr>
              </a:solidFill>
            </a:ln>
          </p:spPr>
          <p:style>
            <a:lnRef idx="1">
              <a:srgbClr val="002B49"/>
            </a:lnRef>
            <a:fillRef idx="0">
              <a:srgbClr val="002B49"/>
            </a:fillRef>
            <a:effectRef idx="0">
              <a:srgbClr val="002B49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</p:grpSp>
      <p:grpSp>
        <p:nvGrpSpPr>
          <p:cNvPr id="81" name="Gruppieren 80">
            <a:extLst>
              <a:ext uri="{FF2B5EF4-FFF2-40B4-BE49-F238E27FC236}">
                <a16:creationId xmlns:a16="http://schemas.microsoft.com/office/drawing/2014/main" id="{171C6180-1670-4A88-804C-74F579B4B9A4}"/>
              </a:ext>
            </a:extLst>
          </p:cNvPr>
          <p:cNvGrpSpPr/>
          <p:nvPr/>
        </p:nvGrpSpPr>
        <p:grpSpPr>
          <a:xfrm>
            <a:off x="544653" y="3513998"/>
            <a:ext cx="2118642" cy="1305754"/>
            <a:chOff x="582983" y="3489317"/>
            <a:chExt cx="2118642" cy="1305754"/>
          </a:xfrm>
        </p:grpSpPr>
        <p:sp>
          <p:nvSpPr>
            <p:cNvPr id="39" name="Text Box 7_">
              <a:extLst>
                <a:ext uri="{FF2B5EF4-FFF2-40B4-BE49-F238E27FC236}">
                  <a16:creationId xmlns:a16="http://schemas.microsoft.com/office/drawing/2014/main" id="{DC8B3616-1EFA-4C11-A5EF-84D105098A6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86133" y="3573112"/>
              <a:ext cx="777475" cy="179020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square" lIns="0" tIns="12697" rIns="0" bIns="0">
              <a:spAutoFit/>
            </a:bodyPr>
            <a:lstStyle/>
            <a:p>
              <a:pPr marL="0" marR="0" lvl="0" indent="0" algn="l" defTabSz="839536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2B49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rPr>
                <a:t>Unified</a:t>
              </a:r>
            </a:p>
          </p:txBody>
        </p:sp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81537867-B8A1-4E6F-ACA4-0FED59E90506}"/>
                </a:ext>
              </a:extLst>
            </p:cNvPr>
            <p:cNvSpPr txBox="1"/>
            <p:nvPr/>
          </p:nvSpPr>
          <p:spPr>
            <a:xfrm>
              <a:off x="1197100" y="3788767"/>
              <a:ext cx="953875" cy="25200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81000" tIns="9900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2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osch Sans Black" pitchFamily="2" charset="0"/>
                  <a:ea typeface="+mn-ea"/>
                  <a:cs typeface="+mn-cs"/>
                </a:rPr>
                <a:t>DRIVES</a:t>
              </a:r>
            </a:p>
          </p:txBody>
        </p:sp>
        <p:pic>
          <p:nvPicPr>
            <p:cNvPr id="30" name="Grafik 2">
              <a:extLst>
                <a:ext uri="{FF2B5EF4-FFF2-40B4-BE49-F238E27FC236}">
                  <a16:creationId xmlns:a16="http://schemas.microsoft.com/office/drawing/2014/main" id="{6A162D89-AB96-4058-B7D4-FAD049AD06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ackgroundRemoval t="8356" b="92992" l="2716" r="96166">
                          <a14:foregroundMark x1="23642" y1="39623" x2="23642" y2="39623"/>
                          <a14:foregroundMark x1="6789" y1="43127" x2="6789" y2="43127"/>
                          <a14:foregroundMark x1="6310" y1="25606" x2="6310" y2="25606"/>
                          <a14:foregroundMark x1="2716" y1="34501" x2="2716" y2="34501"/>
                          <a14:foregroundMark x1="4233" y1="37736" x2="4233" y2="37736"/>
                          <a14:foregroundMark x1="11422" y1="36119" x2="11422" y2="36119"/>
                          <a14:foregroundMark x1="19569" y1="10243" x2="19569" y2="10243"/>
                          <a14:foregroundMark x1="20128" y1="8356" x2="20128" y2="8356"/>
                          <a14:foregroundMark x1="6789" y1="18868" x2="6789" y2="18868"/>
                          <a14:foregroundMark x1="2716" y1="32615" x2="2716" y2="32615"/>
                          <a14:foregroundMark x1="15495" y1="92992" x2="15495" y2="92992"/>
                          <a14:foregroundMark x1="71166" y1="87871" x2="71166" y2="87871"/>
                          <a14:foregroundMark x1="75240" y1="81132" x2="75240" y2="81132"/>
                          <a14:foregroundMark x1="81390" y1="81132" x2="81390" y2="81132"/>
                          <a14:foregroundMark x1="96166" y1="84367" x2="96166" y2="84367"/>
                          <a14:foregroundMark x1="76757" y1="81132" x2="76757" y2="81132"/>
                          <a14:foregroundMark x1="44089" y1="74124" x2="44089" y2="74124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9340" y="4238013"/>
              <a:ext cx="624702" cy="1763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3FC34083-531F-4013-A9B4-7981AD16522A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ackgroundRemoval t="8159" b="89749" l="6667" r="92667">
                          <a14:foregroundMark x1="9667" y1="30335" x2="9667" y2="30335"/>
                          <a14:foregroundMark x1="6667" y1="37029" x2="6667" y2="37029"/>
                          <a14:foregroundMark x1="33333" y1="8368" x2="33333" y2="8368"/>
                          <a14:foregroundMark x1="18833" y1="9205" x2="18833" y2="9205"/>
                          <a14:foregroundMark x1="81333" y1="83891" x2="81333" y2="83891"/>
                          <a14:foregroundMark x1="79667" y1="77197" x2="79667" y2="77197"/>
                          <a14:foregroundMark x1="80500" y1="74268" x2="80500" y2="74268"/>
                          <a14:foregroundMark x1="89667" y1="55230" x2="89667" y2="55230"/>
                          <a14:foregroundMark x1="92667" y1="57113" x2="92667" y2="57113"/>
                          <a14:foregroundMark x1="73667" y1="74268" x2="73667" y2="74268"/>
                          <a14:foregroundMark x1="71333" y1="73431" x2="71333" y2="73431"/>
                          <a14:foregroundMark x1="69833" y1="73431" x2="69833" y2="73431"/>
                          <a14:foregroundMark x1="85000" y1="89540" x2="85000" y2="89540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2983" y="3586192"/>
              <a:ext cx="418708" cy="318478"/>
            </a:xfrm>
            <a:prstGeom prst="rect">
              <a:avLst/>
            </a:prstGeom>
          </p:spPr>
        </p:pic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8C3B26E0-4C95-4787-B7FD-EFC4F1ADC3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backgroundRemoval t="9606" b="89655" l="5258" r="92811">
                          <a14:foregroundMark x1="11159" y1="66749" x2="11159" y2="29557"/>
                          <a14:foregroundMark x1="5258" y1="53202" x2="5258" y2="53202"/>
                          <a14:foregroundMark x1="13305" y1="55665" x2="13305" y2="55665"/>
                          <a14:foregroundMark x1="50644" y1="50739" x2="50644" y2="50739"/>
                          <a14:foregroundMark x1="34442" y1="39655" x2="34442" y2="39655"/>
                          <a14:foregroundMark x1="87339" y1="53202" x2="87339" y2="53202"/>
                          <a14:foregroundMark x1="92811" y1="49507" x2="92811" y2="49507"/>
                          <a14:foregroundMark x1="48498" y1="48276" x2="48498" y2="48276"/>
                          <a14:foregroundMark x1="76609" y1="48276" x2="80901" y2="48276"/>
                          <a14:foregroundMark x1="87339" y1="48276" x2="87339" y2="4827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74317" y="4549569"/>
              <a:ext cx="590273" cy="245502"/>
            </a:xfrm>
            <a:prstGeom prst="rect">
              <a:avLst/>
            </a:prstGeom>
          </p:spPr>
        </p:pic>
        <p:sp>
          <p:nvSpPr>
            <p:cNvPr id="86" name="Text Box 7_______">
              <a:extLst>
                <a:ext uri="{FF2B5EF4-FFF2-40B4-BE49-F238E27FC236}">
                  <a16:creationId xmlns:a16="http://schemas.microsoft.com/office/drawing/2014/main" id="{BAED2E99-A9D1-45E7-9305-8C3700B7AC0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94832" y="4058682"/>
              <a:ext cx="1151114" cy="197487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square" lIns="0" tIns="12697" rIns="0" bIns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2B49"/>
                  </a:solidFill>
                  <a:effectLst/>
                  <a:uLnTx/>
                  <a:uFillTx/>
                  <a:latin typeface="Bosch Office Sans"/>
                  <a:ea typeface="+mn-ea"/>
                  <a:cs typeface="Bosch Office Sans"/>
                </a:rPr>
                <a:t>for all tools </a:t>
              </a:r>
            </a:p>
          </p:txBody>
        </p:sp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3F9F5B6E-E7B6-4EF0-BCDD-FA34A0ED7C2A}"/>
                </a:ext>
              </a:extLst>
            </p:cNvPr>
            <p:cNvSpPr txBox="1"/>
            <p:nvPr/>
          </p:nvSpPr>
          <p:spPr>
            <a:xfrm>
              <a:off x="1690501" y="3489317"/>
              <a:ext cx="1011124" cy="25200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81000" tIns="9540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2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osch Sans Black" pitchFamily="2" charset="0"/>
                  <a:ea typeface="+mn-ea"/>
                  <a:cs typeface="+mn-cs"/>
                </a:rPr>
                <a:t>OUTPUT</a:t>
              </a:r>
            </a:p>
          </p:txBody>
        </p:sp>
      </p:grpSp>
      <p:pic>
        <p:nvPicPr>
          <p:cNvPr id="112" name="Grafik 111">
            <a:extLst>
              <a:ext uri="{FF2B5EF4-FFF2-40B4-BE49-F238E27FC236}">
                <a16:creationId xmlns:a16="http://schemas.microsoft.com/office/drawing/2014/main" id="{D315FF5B-34CD-4E3E-90C4-81F10577BC4F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ackgroundRemoval t="3659" b="94309" l="9945" r="89503">
                        <a14:foregroundMark x1="69613" y1="9756" x2="78453" y2="7317"/>
                        <a14:foregroundMark x1="81768" y1="7724" x2="81215" y2="56098"/>
                        <a14:foregroundMark x1="85083" y1="12195" x2="85083" y2="12195"/>
                        <a14:foregroundMark x1="85083" y1="9350" x2="85083" y2="9350"/>
                        <a14:foregroundMark x1="86740" y1="8130" x2="86740" y2="8130"/>
                        <a14:foregroundMark x1="86188" y1="5691" x2="86188" y2="5691"/>
                        <a14:foregroundMark x1="86188" y1="4065" x2="86188" y2="4065"/>
                        <a14:foregroundMark x1="86740" y1="5285" x2="86740" y2="5285"/>
                        <a14:foregroundMark x1="87293" y1="4878" x2="87293" y2="4878"/>
                        <a14:foregroundMark x1="68508" y1="4472" x2="68508" y2="4472"/>
                        <a14:foregroundMark x1="27624" y1="65447" x2="27624" y2="65447"/>
                        <a14:foregroundMark x1="25414" y1="68699" x2="25414" y2="68699"/>
                        <a14:foregroundMark x1="22099" y1="74390" x2="22099" y2="74390"/>
                        <a14:foregroundMark x1="22099" y1="73171" x2="22099" y2="73171"/>
                        <a14:foregroundMark x1="19337" y1="73984" x2="19337" y2="73984"/>
                        <a14:foregroundMark x1="19337" y1="76423" x2="19337" y2="76423"/>
                        <a14:foregroundMark x1="21547" y1="76016" x2="21547" y2="76016"/>
                        <a14:foregroundMark x1="21547" y1="77236" x2="21547" y2="77236"/>
                        <a14:foregroundMark x1="17680" y1="78049" x2="17680" y2="78049"/>
                        <a14:foregroundMark x1="16575" y1="78455" x2="16575" y2="78455"/>
                        <a14:foregroundMark x1="15470" y1="80081" x2="15470" y2="80081"/>
                        <a14:foregroundMark x1="20994" y1="80488" x2="20994" y2="80488"/>
                        <a14:foregroundMark x1="15470" y1="78862" x2="15470" y2="78862"/>
                        <a14:foregroundMark x1="22099" y1="82114" x2="22099" y2="82114"/>
                        <a14:foregroundMark x1="24862" y1="84146" x2="24862" y2="84146"/>
                        <a14:foregroundMark x1="30387" y1="86179" x2="30387" y2="86179"/>
                        <a14:foregroundMark x1="30939" y1="89837" x2="30939" y2="89837"/>
                        <a14:foregroundMark x1="34807" y1="90650" x2="34807" y2="90650"/>
                        <a14:foregroundMark x1="35912" y1="94309" x2="35912" y2="9430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632" y="3437541"/>
            <a:ext cx="862361" cy="1172049"/>
          </a:xfrm>
          <a:prstGeom prst="rect">
            <a:avLst/>
          </a:prstGeom>
        </p:spPr>
      </p:pic>
      <p:pic>
        <p:nvPicPr>
          <p:cNvPr id="113" name="Grafik 112">
            <a:extLst>
              <a:ext uri="{FF2B5EF4-FFF2-40B4-BE49-F238E27FC236}">
                <a16:creationId xmlns:a16="http://schemas.microsoft.com/office/drawing/2014/main" id="{29C20992-F223-44D6-9224-BBD7B0C91FB0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ackgroundRemoval t="2494" b="97007" l="9091" r="88312">
                        <a14:foregroundMark x1="19481" y1="4489" x2="19481" y2="4489"/>
                        <a14:foregroundMark x1="32468" y1="3242" x2="32468" y2="3242"/>
                        <a14:foregroundMark x1="29870" y1="2743" x2="29870" y2="2743"/>
                        <a14:foregroundMark x1="38961" y1="2743" x2="38961" y2="2743"/>
                        <a14:foregroundMark x1="45455" y1="2993" x2="45455" y2="2993"/>
                        <a14:foregroundMark x1="44156" y1="6234" x2="44156" y2="6234"/>
                        <a14:foregroundMark x1="44156" y1="12219" x2="44156" y2="12219"/>
                        <a14:foregroundMark x1="41558" y1="13965" x2="41558" y2="13965"/>
                        <a14:foregroundMark x1="35065" y1="11471" x2="35065" y2="11471"/>
                        <a14:foregroundMark x1="36364" y1="13716" x2="36364" y2="13716"/>
                        <a14:foregroundMark x1="33766" y1="11970" x2="33766" y2="11970"/>
                        <a14:foregroundMark x1="35065" y1="13716" x2="35065" y2="13716"/>
                        <a14:foregroundMark x1="36364" y1="9476" x2="36364" y2="9476"/>
                        <a14:foregroundMark x1="28571" y1="6733" x2="28571" y2="6733"/>
                        <a14:foregroundMark x1="74026" y1="47132" x2="74026" y2="47132"/>
                        <a14:foregroundMark x1="71429" y1="45137" x2="71429" y2="45137"/>
                        <a14:foregroundMark x1="71429" y1="42643" x2="71429" y2="42643"/>
                        <a14:foregroundMark x1="70130" y1="39651" x2="70130" y2="39651"/>
                        <a14:foregroundMark x1="70130" y1="37406" x2="70130" y2="37406"/>
                        <a14:foregroundMark x1="70130" y1="34913" x2="70130" y2="34913"/>
                        <a14:foregroundMark x1="72727" y1="33915" x2="72727" y2="33915"/>
                        <a14:foregroundMark x1="53247" y1="89027" x2="53247" y2="89027"/>
                        <a14:foregroundMark x1="51948" y1="87531" x2="51948" y2="87531"/>
                        <a14:foregroundMark x1="37662" y1="86284" x2="37662" y2="86284"/>
                        <a14:foregroundMark x1="28571" y1="86783" x2="28571" y2="86783"/>
                        <a14:foregroundMark x1="49351" y1="91521" x2="49351" y2="91521"/>
                        <a14:foregroundMark x1="46753" y1="91771" x2="46753" y2="91771"/>
                        <a14:foregroundMark x1="48052" y1="93766" x2="48052" y2="93766"/>
                        <a14:foregroundMark x1="48052" y1="95761" x2="48052" y2="95761"/>
                        <a14:foregroundMark x1="48052" y1="96259" x2="48052" y2="96259"/>
                        <a14:foregroundMark x1="48052" y1="96259" x2="48052" y2="96259"/>
                        <a14:foregroundMark x1="48052" y1="97007" x2="48052" y2="97007"/>
                        <a14:foregroundMark x1="51948" y1="97007" x2="51948" y2="97007"/>
                        <a14:foregroundMark x1="44156" y1="96758" x2="44156" y2="96758"/>
                        <a14:foregroundMark x1="15584" y1="4738" x2="15584" y2="4738"/>
                        <a14:foregroundMark x1="23377" y1="3491" x2="23377" y2="3491"/>
                        <a14:foregroundMark x1="23377" y1="2743" x2="23377" y2="2743"/>
                        <a14:foregroundMark x1="23377" y1="5736" x2="23377" y2="5736"/>
                        <a14:foregroundMark x1="23377" y1="6983" x2="23377" y2="6983"/>
                        <a14:foregroundMark x1="72727" y1="33915" x2="71429" y2="44638"/>
                        <a14:foregroundMark x1="23377" y1="32419" x2="27273" y2="46633"/>
                        <a14:foregroundMark x1="76623" y1="48628" x2="76623" y2="48628"/>
                        <a14:foregroundMark x1="25974" y1="32170" x2="25974" y2="32170"/>
                        <a14:foregroundMark x1="22078" y1="31172" x2="22078" y2="31172"/>
                        <a14:foregroundMark x1="22078" y1="31671" x2="22078" y2="31671"/>
                        <a14:foregroundMark x1="16883" y1="5237" x2="16883" y2="5237"/>
                        <a14:foregroundMark x1="20779" y1="5486" x2="20779" y2="5486"/>
                        <a14:foregroundMark x1="19481" y1="5486" x2="19481" y2="5486"/>
                        <a14:foregroundMark x1="19481" y1="5736" x2="19481" y2="5736"/>
                        <a14:foregroundMark x1="19481" y1="5486" x2="19481" y2="5486"/>
                        <a14:foregroundMark x1="19481" y1="5486" x2="19481" y2="5486"/>
                        <a14:foregroundMark x1="19481" y1="5486" x2="19481" y2="5486"/>
                        <a14:foregroundMark x1="19481" y1="5736" x2="19481" y2="5736"/>
                        <a14:foregroundMark x1="19481" y1="5486" x2="19481" y2="5486"/>
                        <a14:foregroundMark x1="19481" y1="5486" x2="19481" y2="5486"/>
                        <a14:foregroundMark x1="19481" y1="5985" x2="19481" y2="5985"/>
                        <a14:foregroundMark x1="19481" y1="5486" x2="19481" y2="5486"/>
                        <a14:foregroundMark x1="14286" y1="5486" x2="14286" y2="5486"/>
                        <a14:foregroundMark x1="19481" y1="5736" x2="19481" y2="5736"/>
                        <a14:foregroundMark x1="19481" y1="5985" x2="19481" y2="5985"/>
                        <a14:foregroundMark x1="18182" y1="6234" x2="18182" y2="6234"/>
                        <a14:foregroundMark x1="22078" y1="5985" x2="22078" y2="5985"/>
                        <a14:foregroundMark x1="19481" y1="7232" x2="19481" y2="7232"/>
                        <a14:foregroundMark x1="23377" y1="6983" x2="23377" y2="6983"/>
                        <a14:foregroundMark x1="19481" y1="5985" x2="19481" y2="5736"/>
                        <a14:foregroundMark x1="19481" y1="6234" x2="19481" y2="5985"/>
                        <a14:foregroundMark x1="19481" y1="6484" x2="19481" y2="6234"/>
                        <a14:foregroundMark x1="19481" y1="6733" x2="19481" y2="6484"/>
                        <a14:foregroundMark x1="21790" y1="6983" x2="22078" y2="7232"/>
                        <a14:foregroundMark x1="21212" y1="6484" x2="21790" y2="6983"/>
                        <a14:foregroundMark x1="20923" y1="6234" x2="21212" y2="6484"/>
                        <a14:foregroundMark x1="20635" y1="5985" x2="20923" y2="6234"/>
                        <a14:foregroundMark x1="20057" y1="5486" x2="20635" y2="5985"/>
                        <a14:foregroundMark x1="19481" y1="4988" x2="20057" y2="5486"/>
                        <a14:foregroundMark x1="16883" y1="5486" x2="16883" y2="5486"/>
                        <a14:foregroundMark x1="16883" y1="5486" x2="16883" y2="5486"/>
                        <a14:foregroundMark x1="15584" y1="5486" x2="15584" y2="5486"/>
                        <a14:foregroundMark x1="14286" y1="5736" x2="14286" y2="5736"/>
                        <a14:foregroundMark x1="15584" y1="5736" x2="15584" y2="5736"/>
                        <a14:foregroundMark x1="16883" y1="5736" x2="16883" y2="5736"/>
                        <a14:foregroundMark x1="15584" y1="5736" x2="15584" y2="5736"/>
                        <a14:foregroundMark x1="15584" y1="5736" x2="15584" y2="5736"/>
                        <a14:foregroundMark x1="15584" y1="5736" x2="15584" y2="5736"/>
                        <a14:foregroundMark x1="15584" y1="5736" x2="15584" y2="5736"/>
                        <a14:foregroundMark x1="16883" y1="5736" x2="16883" y2="5736"/>
                        <a14:foregroundMark x1="16883" y1="5736" x2="16883" y2="5736"/>
                        <a14:foregroundMark x1="15584" y1="5736" x2="15584" y2="5736"/>
                        <a14:foregroundMark x1="18182" y1="5736" x2="15584" y2="5736"/>
                        <a14:backgroundMark x1="22078" y1="3491" x2="22078" y2="3491"/>
                        <a14:backgroundMark x1="22078" y1="2743" x2="22078" y2="2743"/>
                        <a14:backgroundMark x1="19481" y1="85786" x2="19481" y2="85786"/>
                        <a14:backgroundMark x1="20779" y1="7481" x2="20779" y2="7481"/>
                        <a14:backgroundMark x1="22078" y1="6484" x2="22078" y2="6484"/>
                        <a14:backgroundMark x1="15584" y1="5985" x2="15584" y2="5985"/>
                        <a14:backgroundMark x1="22078" y1="6234" x2="22078" y2="6234"/>
                        <a14:backgroundMark x1="23377" y1="6234" x2="23377" y2="6234"/>
                        <a14:backgroundMark x1="23377" y1="7232" x2="23377" y2="7232"/>
                        <a14:backgroundMark x1="24675" y1="6983" x2="24675" y2="6983"/>
                        <a14:backgroundMark x1="16883" y1="6484" x2="16883" y2="6484"/>
                        <a14:backgroundMark x1="12987" y1="5486" x2="12987" y2="5486"/>
                        <a14:backgroundMark x1="18182" y1="6484" x2="18182" y2="6484"/>
                        <a14:backgroundMark x1="19481" y1="5985" x2="19481" y2="5985"/>
                        <a14:backgroundMark x1="18182" y1="5985" x2="18182" y2="598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1631" y="1993968"/>
            <a:ext cx="422179" cy="2198626"/>
          </a:xfrm>
          <a:prstGeom prst="rect">
            <a:avLst/>
          </a:prstGeom>
        </p:spPr>
      </p:pic>
      <p:pic>
        <p:nvPicPr>
          <p:cNvPr id="114" name="Grafik 113">
            <a:extLst>
              <a:ext uri="{FF2B5EF4-FFF2-40B4-BE49-F238E27FC236}">
                <a16:creationId xmlns:a16="http://schemas.microsoft.com/office/drawing/2014/main" id="{E01D418B-021C-4C2F-AB70-D118E469FDE7}"/>
              </a:ext>
            </a:extLst>
          </p:cNvPr>
          <p:cNvPicPr>
            <a:picLocks noChangeAspect="1"/>
          </p:cNvPicPr>
          <p:nvPr/>
        </p:nvPicPr>
        <p:blipFill rotWithShape="1">
          <a:blip r:embed="rId23"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backgroundRemoval t="3139" b="91031" l="4737" r="94211">
                        <a14:foregroundMark x1="22105" y1="13453" x2="22105" y2="13453"/>
                        <a14:foregroundMark x1="16316" y1="13453" x2="29474" y2="13453"/>
                        <a14:foregroundMark x1="53684" y1="12556" x2="90000" y2="14350"/>
                        <a14:foregroundMark x1="76842" y1="9417" x2="87895" y2="9865"/>
                        <a14:foregroundMark x1="34737" y1="4933" x2="86842" y2="6278"/>
                        <a14:foregroundMark x1="88421" y1="6726" x2="94211" y2="21973"/>
                        <a14:foregroundMark x1="5263" y1="12108" x2="5263" y2="12108"/>
                        <a14:foregroundMark x1="34211" y1="4933" x2="84737" y2="5830"/>
                        <a14:foregroundMark x1="37895" y1="3587" x2="84211" y2="4933"/>
                        <a14:foregroundMark x1="47895" y1="91031" x2="90000" y2="87444"/>
                        <a14:foregroundMark x1="68421" y1="90583" x2="84211" y2="90583"/>
                      </a14:backgroundRemoval>
                    </a14:imgEffect>
                  </a14:imgLayer>
                </a14:imgProps>
              </a:ext>
            </a:extLst>
          </a:blip>
          <a:srcRect t="3809"/>
          <a:stretch/>
        </p:blipFill>
        <p:spPr>
          <a:xfrm>
            <a:off x="4077130" y="2519965"/>
            <a:ext cx="948432" cy="107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2799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432000000">
                                      <p:cBhvr>
                                        <p:cTn id="6" dur="600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2F5EC5-EDDB-78D3-03BE-45ED17E719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569" y="42446"/>
            <a:ext cx="10450800" cy="388800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2000" b="1" kern="0">
                <a:solidFill>
                  <a:srgbClr val="CC0099"/>
                </a:solidFill>
                <a:latin typeface="+mn-lt"/>
                <a:ea typeface="+mn-ea"/>
                <a:cs typeface="+mn-cs"/>
              </a:rPr>
              <a:t>DC-JS – Support From BGSW</a:t>
            </a:r>
            <a:br>
              <a:rPr lang="en-US" sz="2000" kern="0">
                <a:solidFill>
                  <a:srgbClr val="CC0099"/>
                </a:solidFill>
                <a:latin typeface="+mn-lt"/>
                <a:ea typeface="+mn-ea"/>
                <a:cs typeface="+mn-cs"/>
              </a:rPr>
            </a:br>
            <a:endParaRPr lang="en-US" sz="2000" kern="0">
              <a:solidFill>
                <a:srgbClr val="CC0099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6792FB-E189-E16A-FB4D-3501258B2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898AEC0-503E-4FA4-859C-D0F72D6E3F79}" type="slidenum">
              <a:rPr kumimoji="0" lang="en-US" sz="1200" b="0" i="0" u="none" strike="noStrike" kern="0" cap="none" spc="0" normalizeH="0" baseline="0" noProof="1" smtClean="0">
                <a:ln>
                  <a:noFill/>
                </a:ln>
                <a:solidFill>
                  <a:srgbClr val="999FA6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0" cap="none" spc="0" normalizeH="0" baseline="0" noProof="1">
              <a:ln>
                <a:noFill/>
              </a:ln>
              <a:solidFill>
                <a:srgbClr val="999FA6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14EDD19-0120-6F70-0A7B-DC229C5AB074}"/>
              </a:ext>
            </a:extLst>
          </p:cNvPr>
          <p:cNvCxnSpPr>
            <a:cxnSpLocks/>
          </p:cNvCxnSpPr>
          <p:nvPr/>
        </p:nvCxnSpPr>
        <p:spPr>
          <a:xfrm flipH="1">
            <a:off x="228598" y="3553329"/>
            <a:ext cx="1047163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1B2CFD42-759C-6D26-DE9D-876F8A45CE18}"/>
              </a:ext>
            </a:extLst>
          </p:cNvPr>
          <p:cNvSpPr txBox="1"/>
          <p:nvPr/>
        </p:nvSpPr>
        <p:spPr>
          <a:xfrm>
            <a:off x="2040418" y="443902"/>
            <a:ext cx="3323551" cy="290723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en-US" sz="1050" b="0" i="0" u="none" strike="noStrike" kern="0" cap="none" spc="0" normalizeH="0" baseline="0" noProof="0">
              <a:ln>
                <a:noFill/>
              </a:ln>
              <a:solidFill>
                <a:srgbClr val="004975"/>
              </a:solidFill>
              <a:effectLst/>
              <a:uLnTx/>
              <a:uFillTx/>
              <a:latin typeface="Bosch Office Sans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                          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696E5A8-E7B1-673C-107F-9A698E23B1E5}"/>
              </a:ext>
            </a:extLst>
          </p:cNvPr>
          <p:cNvSpPr txBox="1"/>
          <p:nvPr/>
        </p:nvSpPr>
        <p:spPr>
          <a:xfrm>
            <a:off x="850577" y="1441626"/>
            <a:ext cx="481810" cy="18416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NEXO2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FA20571-3122-B714-BB60-34A3AC14B82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700" y="458746"/>
            <a:ext cx="1649564" cy="92788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96015596-807D-E781-789D-3315E59531B3}"/>
              </a:ext>
            </a:extLst>
          </p:cNvPr>
          <p:cNvSpPr txBox="1"/>
          <p:nvPr/>
        </p:nvSpPr>
        <p:spPr>
          <a:xfrm>
            <a:off x="2246388" y="444131"/>
            <a:ext cx="3007028" cy="16319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BGSW In-Scop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Front end web development fo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     configuration of the tool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Test automation using Robot framework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Azure DevOps (CI/CD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050" b="1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Technology stack: </a:t>
            </a:r>
            <a:r>
              <a:rPr kumimoji="0" lang="en-US" sz="1050" b="0" i="0" u="none" strike="noStrike" kern="0" cap="none" spc="0" normalizeH="0" baseline="0" noProof="0" err="1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Angular,HTML</a:t>
            </a:r>
            <a:r>
              <a:rPr lang="en-US" sz="1050" kern="0">
                <a:solidFill>
                  <a:srgbClr val="004975"/>
                </a:solidFill>
              </a:rPr>
              <a:t>,CSS</a:t>
            </a: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 Robot framework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E570171-5A90-7F52-7B8C-CD4F7D275042}"/>
              </a:ext>
            </a:extLst>
          </p:cNvPr>
          <p:cNvSpPr txBox="1"/>
          <p:nvPr/>
        </p:nvSpPr>
        <p:spPr>
          <a:xfrm>
            <a:off x="6126624" y="515283"/>
            <a:ext cx="2827579" cy="93715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BGSW Out-Scop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Back end using Pyth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Firmware development(C++)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E06CF70-D1F8-03BF-0E4D-45C3506210EC}"/>
              </a:ext>
            </a:extLst>
          </p:cNvPr>
          <p:cNvSpPr txBox="1"/>
          <p:nvPr/>
        </p:nvSpPr>
        <p:spPr>
          <a:xfrm>
            <a:off x="711959" y="3456972"/>
            <a:ext cx="759045" cy="20421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AXO Contro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A19B060-A001-F100-51ED-671431846348}"/>
              </a:ext>
            </a:extLst>
          </p:cNvPr>
          <p:cNvSpPr txBox="1"/>
          <p:nvPr/>
        </p:nvSpPr>
        <p:spPr>
          <a:xfrm>
            <a:off x="2022066" y="2386304"/>
            <a:ext cx="3323551" cy="214133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                          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78E1E7F-4CCD-5144-245A-B6FCC2178E6F}"/>
              </a:ext>
            </a:extLst>
          </p:cNvPr>
          <p:cNvSpPr txBox="1"/>
          <p:nvPr/>
        </p:nvSpPr>
        <p:spPr>
          <a:xfrm>
            <a:off x="2338589" y="2094533"/>
            <a:ext cx="3007028" cy="102729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BGSW In-Scop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Front end  web development fo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     configuration of the tool(Replacement of old BS350 s/w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050" b="1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Technology stack: </a:t>
            </a: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Angular 20+,HTML,CSS,AzureDevOp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2CE5217-FB53-2FAB-9F1E-6846CF7EB249}"/>
              </a:ext>
            </a:extLst>
          </p:cNvPr>
          <p:cNvSpPr txBox="1"/>
          <p:nvPr/>
        </p:nvSpPr>
        <p:spPr>
          <a:xfrm>
            <a:off x="6208964" y="2060907"/>
            <a:ext cx="2575374" cy="93715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BGSW Out-Scop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Back end using Pyth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4975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t>Firmware development</a:t>
            </a:r>
          </a:p>
        </p:txBody>
      </p:sp>
      <p:pic>
        <p:nvPicPr>
          <p:cNvPr id="1026" name="Grafik 37">
            <a:extLst>
              <a:ext uri="{FF2B5EF4-FFF2-40B4-BE49-F238E27FC236}">
                <a16:creationId xmlns:a16="http://schemas.microsoft.com/office/drawing/2014/main" id="{7B3F9615-993B-5D99-1818-709AA0890E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69" y="1929338"/>
            <a:ext cx="1876044" cy="1354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E2D2DAF-EA37-E809-270C-81A87C7C974F}"/>
              </a:ext>
            </a:extLst>
          </p:cNvPr>
          <p:cNvSpPr/>
          <p:nvPr/>
        </p:nvSpPr>
        <p:spPr>
          <a:xfrm>
            <a:off x="422054" y="3930408"/>
            <a:ext cx="1600012" cy="870192"/>
          </a:xfrm>
          <a:prstGeom prst="rect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04B40A3-FFF8-285A-8474-6DFA8B035966}"/>
              </a:ext>
            </a:extLst>
          </p:cNvPr>
          <p:cNvSpPr txBox="1"/>
          <p:nvPr/>
        </p:nvSpPr>
        <p:spPr>
          <a:xfrm>
            <a:off x="2487827" y="3661185"/>
            <a:ext cx="2765589" cy="13405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marR="0" indent="-28575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lang="en-US" sz="1050" kern="0">
                <a:solidFill>
                  <a:schemeClr val="accent3">
                    <a:lumMod val="50000"/>
                  </a:schemeClr>
                </a:solidFill>
              </a:rPr>
              <a:t>Front End and backend build pipeline automation</a:t>
            </a:r>
          </a:p>
          <a:p>
            <a:pPr marL="285750" marR="0" indent="-28575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</a:rPr>
              <a:t>PR Based Testing framework</a:t>
            </a:r>
          </a:p>
          <a:p>
            <a:pPr marL="285750" marR="0" indent="-28575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lang="en-US" sz="1050" kern="0">
                <a:solidFill>
                  <a:schemeClr val="accent3">
                    <a:lumMod val="50000"/>
                  </a:schemeClr>
                </a:solidFill>
              </a:rPr>
              <a:t>Multi-Environment Firmware Build Automation</a:t>
            </a:r>
          </a:p>
          <a:p>
            <a:pPr marL="285750" marR="0" indent="-28575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</a:rPr>
              <a:t>Comprehensive static </a:t>
            </a:r>
            <a:r>
              <a:rPr lang="en-US" sz="1050" kern="0">
                <a:solidFill>
                  <a:schemeClr val="accent3">
                    <a:lumMod val="50000"/>
                  </a:schemeClr>
                </a:solidFill>
              </a:rPr>
              <a:t>c</a:t>
            </a: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</a:rPr>
              <a:t>ode analysis integr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B9D5C7-4B5C-C4C5-8B2A-31E542866AD2}"/>
              </a:ext>
            </a:extLst>
          </p:cNvPr>
          <p:cNvSpPr txBox="1"/>
          <p:nvPr/>
        </p:nvSpPr>
        <p:spPr>
          <a:xfrm>
            <a:off x="7472663" y="3726697"/>
            <a:ext cx="2018270" cy="12087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marR="0" indent="-28575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</a:rPr>
              <a:t>Integrated test cases with feature</a:t>
            </a:r>
          </a:p>
          <a:p>
            <a:pPr marL="285750" marR="0" indent="-28575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lang="en-US" sz="1000" kern="0">
                <a:solidFill>
                  <a:schemeClr val="accent1">
                    <a:lumMod val="50000"/>
                  </a:schemeClr>
                </a:solidFill>
              </a:rPr>
              <a:t>Test reports generation </a:t>
            </a:r>
          </a:p>
          <a:p>
            <a:pPr marL="285750" marR="0" indent="-28575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</a:rPr>
              <a:t>Test automation pipeline weekly build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98A6DF-7618-F80B-F1B9-2E44E3E843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38" y="3776423"/>
            <a:ext cx="2279443" cy="107281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DB100AC-E73F-5E82-CB15-00BBBDCA84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32584" y="3726697"/>
            <a:ext cx="2152761" cy="1219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8417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25301E-91FA-B71D-D65E-90663CA78D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FA2BEC-41AD-4E1D-8DA9-59D5CFE1F7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67224" y="235128"/>
            <a:ext cx="6897782" cy="412872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kern="1200" spc="-55">
                <a:solidFill>
                  <a:srgbClr val="BC0F79"/>
                </a:solidFill>
                <a:latin typeface="Bosch Sans Bold"/>
                <a:cs typeface="Arial"/>
              </a:rPr>
              <a:t>Architecture – Nexo and AxoControl</a:t>
            </a:r>
            <a:endParaRPr lang="en-US" sz="2800" i="0" u="none" strike="noStrike" kern="1200" cap="none" spc="-55" normalizeH="0" baseline="0" noProof="0">
              <a:ln>
                <a:noFill/>
              </a:ln>
              <a:solidFill>
                <a:srgbClr val="BC0F79"/>
              </a:solidFill>
              <a:effectLst/>
              <a:uLnTx/>
              <a:uFillTx/>
              <a:latin typeface="Bosch Sans Bold" panose="020B0704020202020204" pitchFamily="34" charset="0"/>
              <a:cs typeface="Arial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D6DB291-ABD0-E6BA-DF44-ADC59436D0DA}"/>
              </a:ext>
            </a:extLst>
          </p:cNvPr>
          <p:cNvGrpSpPr/>
          <p:nvPr/>
        </p:nvGrpSpPr>
        <p:grpSpPr>
          <a:xfrm>
            <a:off x="267399" y="227088"/>
            <a:ext cx="10442601" cy="421106"/>
            <a:chOff x="267399" y="227088"/>
            <a:chExt cx="10442601" cy="421106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EB527506-58C8-9919-2DDB-B4ED3A1B2BD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7399" y="648194"/>
              <a:ext cx="9920354" cy="0"/>
            </a:xfrm>
            <a:prstGeom prst="line">
              <a:avLst/>
            </a:prstGeom>
            <a:ln w="19050">
              <a:solidFill>
                <a:srgbClr val="BD0F7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B5D1C8F-6497-668A-E7C3-F63A3E52CB6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371" t="3680" r="2373" b="90019"/>
            <a:stretch/>
          </p:blipFill>
          <p:spPr>
            <a:xfrm>
              <a:off x="10244221" y="227088"/>
              <a:ext cx="465779" cy="388801"/>
            </a:xfrm>
            <a:prstGeom prst="rect">
              <a:avLst/>
            </a:prstGeom>
          </p:spPr>
        </p:pic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3FA516E-16F7-65DB-ABBA-4A7E333DEC5C}"/>
              </a:ext>
            </a:extLst>
          </p:cNvPr>
          <p:cNvCxnSpPr>
            <a:cxnSpLocks/>
          </p:cNvCxnSpPr>
          <p:nvPr/>
        </p:nvCxnSpPr>
        <p:spPr>
          <a:xfrm>
            <a:off x="5341877" y="648000"/>
            <a:ext cx="1" cy="4881187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94EC0E52-2C3E-52AC-BF28-4B7612698071}"/>
              </a:ext>
            </a:extLst>
          </p:cNvPr>
          <p:cNvSpPr txBox="1"/>
          <p:nvPr/>
        </p:nvSpPr>
        <p:spPr>
          <a:xfrm>
            <a:off x="2342851" y="707110"/>
            <a:ext cx="923399" cy="2143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CC0099"/>
                </a:solidFill>
                <a:effectLst/>
                <a:uLnTx/>
                <a:uFillTx/>
              </a:rPr>
              <a:t>NEXO II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C2AFFA6-25FD-5535-8C90-E135C2659FA8}"/>
              </a:ext>
            </a:extLst>
          </p:cNvPr>
          <p:cNvSpPr txBox="1"/>
          <p:nvPr/>
        </p:nvSpPr>
        <p:spPr>
          <a:xfrm>
            <a:off x="7297071" y="732474"/>
            <a:ext cx="1221357" cy="1889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CC0099"/>
                </a:solidFill>
                <a:effectLst/>
                <a:uLnTx/>
                <a:uFillTx/>
              </a:rPr>
              <a:t>AXO Contro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EEDA6D3-E6C8-99E7-6379-36EC06F9E2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45" y="1334287"/>
            <a:ext cx="5167220" cy="312556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AE942CE-8BCE-4C86-CB89-756E0CB9D61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7748" y="1005693"/>
            <a:ext cx="5017245" cy="3454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617914-76AF-08F8-8147-8838E4034C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425892-B01C-5D08-2820-BFEDE12BA7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67224" y="235128"/>
            <a:ext cx="6897782" cy="412872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kern="1200" spc="-55">
                <a:solidFill>
                  <a:srgbClr val="BC0F79"/>
                </a:solidFill>
                <a:latin typeface="Bosch Sans Bold"/>
                <a:cs typeface="Arial"/>
              </a:rPr>
              <a:t>Nexo – Deployment Diagram</a:t>
            </a:r>
            <a:endParaRPr lang="en-US" sz="2800" i="0" u="none" strike="noStrike" kern="1200" cap="none" spc="-55" normalizeH="0" baseline="0" noProof="0">
              <a:ln>
                <a:noFill/>
              </a:ln>
              <a:solidFill>
                <a:srgbClr val="BC0F79"/>
              </a:solidFill>
              <a:effectLst/>
              <a:uLnTx/>
              <a:uFillTx/>
              <a:latin typeface="Bosch Sans Bold" panose="020B0704020202020204" pitchFamily="34" charset="0"/>
              <a:cs typeface="Arial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4355697-2B23-E095-8BE5-381D818813CD}"/>
              </a:ext>
            </a:extLst>
          </p:cNvPr>
          <p:cNvGrpSpPr/>
          <p:nvPr/>
        </p:nvGrpSpPr>
        <p:grpSpPr>
          <a:xfrm>
            <a:off x="267399" y="227088"/>
            <a:ext cx="10442601" cy="421106"/>
            <a:chOff x="267399" y="227088"/>
            <a:chExt cx="10442601" cy="421106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FB3E5790-D923-DFC7-A9A7-A7B5183A5C5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7399" y="648194"/>
              <a:ext cx="9920354" cy="0"/>
            </a:xfrm>
            <a:prstGeom prst="line">
              <a:avLst/>
            </a:prstGeom>
            <a:ln w="19050">
              <a:solidFill>
                <a:srgbClr val="BD0F7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90B107AA-391A-9571-1667-6C95C713675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371" t="3680" r="2373" b="90019"/>
            <a:stretch/>
          </p:blipFill>
          <p:spPr>
            <a:xfrm>
              <a:off x="10244221" y="227088"/>
              <a:ext cx="465779" cy="388801"/>
            </a:xfrm>
            <a:prstGeom prst="rect">
              <a:avLst/>
            </a:prstGeom>
          </p:spPr>
        </p:pic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272BF6F6-0DB2-BD6B-43FC-87AB26C78605}"/>
              </a:ext>
            </a:extLst>
          </p:cNvPr>
          <p:cNvSpPr txBox="1"/>
          <p:nvPr/>
        </p:nvSpPr>
        <p:spPr>
          <a:xfrm>
            <a:off x="7297071" y="732474"/>
            <a:ext cx="1221357" cy="1889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CC0099"/>
              </a:solidFill>
              <a:effectLst/>
              <a:uLnTx/>
              <a:uFillTx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97F402E-DEB2-79BB-F116-7138AD1384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87788" y="826944"/>
            <a:ext cx="4879575" cy="4740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0140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G1_D2_169.PNG" val="image1.png"/>
  <p:tag name="BG2_D2_169.PNG" val="image4.png"/>
  <p:tag name="BG3_D2_169.PNG" val="image9.png"/>
  <p:tag name="BOTTOM_D2_169.PNG" val="image6.png"/>
  <p:tag name="LOGO1_D2.PNG" val="image2.png"/>
  <p:tag name="LOGO2_D2.PNG" val="image7.png"/>
  <p:tag name="MLTEMPLATEVERSION" val="1.0"/>
  <p:tag name="MLTEMPLATEVERSION_PREVIOUS" val="1.0"/>
  <p:tag name="RIGHT_D2.PNG" val="image3.png"/>
  <p:tag name="SAXCONVERSION" val="1"/>
  <p:tag name="SAXMLCOMPANYNAME" val="bosch"/>
  <p:tag name="SAXMLCOMPANYNAME_PREVIOUS" val="bosch"/>
  <p:tag name="SAXMLTEMPLATE" val="presentation_169"/>
  <p:tag name="SWITCH_BG1_D2_169.JPG" val="image5.png"/>
  <p:tag name="SWITCH_BG2_D2_169.JPG" val="image8.pn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COLORSETGROUPCLASSNAME" val="ColorSetGroup1"/>
  <p:tag name="FONTSETGROUPCLASSNAME" val="FontSetGroup1"/>
  <p:tag name="MLI" val="1"/>
  <p:tag name="SHAPECLASSNAME" val="UpperTriangle"/>
  <p:tag name="SHAPECLASSPROTECTIONTYPE" val="15"/>
  <p:tag name="SHAPESETCLASSNAME" val="TitleSupergraphic1"/>
  <p:tag name="SHAPESETGROUPCLASSNAME" val="ShapeSetGroup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COLORSETGROUPCLASSNAME" val="ColorSetGroup1"/>
  <p:tag name="FONTSETGROUPCLASSNAME" val="FontSetGroup1"/>
  <p:tag name="MLI" val="1"/>
  <p:tag name="SHAPECLASSNAME" val="LowerTriangle"/>
  <p:tag name="SHAPECLASSPROTECTIONTYPE" val="15"/>
  <p:tag name="SHAPESETCLASSNAME" val="TitleSupergraphic1"/>
  <p:tag name="SHAPESETGROUPCLASSNAME" val="ShapeSetGroup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COLORSETGROUPCLASSNAME" val="ColorSetGroup1"/>
  <p:tag name="FONTSETGROUPCLASSNAME" val="FontSetGroup1"/>
  <p:tag name="MLI" val="1"/>
  <p:tag name="SHAPECLASSNAME" val="UpperTriangle"/>
  <p:tag name="SHAPECLASSPROTECTIONTYPE" val="15"/>
  <p:tag name="SHAPESETCLASSNAME" val="TitleSupergraphic1"/>
  <p:tag name="SHAPESETGROUPCLASSNAME" val="ShapeSetGroup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Accent1;-2;-2;-2;-2;-2"/>
  <p:tag name="COLORSETCLASSNAME" val="ColorSet1"/>
  <p:tag name="COLORSETGROUPCLASSNAME" val="ColorSetGroup1"/>
  <p:tag name="FONTSETGROUPCLASSNAME" val="FontSetGroup1"/>
  <p:tag name="ML_SENDTOBACK" val=" 1"/>
  <p:tag name="MLI" val="1"/>
  <p:tag name="SHAPECLASSNAME" val="TitlePic2"/>
  <p:tag name="SHAPECLASSPROTECTIONTYPE" val="3"/>
  <p:tag name="SHAPESETCLASSNAME" val="TitleSupergraphic2"/>
  <p:tag name="SHAPESETGROUPCLASSNAME" val="ShapeSetGroup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COLORSETGROUPCLASSNAME" val="ColorSetGroup1"/>
  <p:tag name="FONTSETGROUPCLASSNAME" val="FontSetGroup1"/>
  <p:tag name="MLI" val="1"/>
  <p:tag name="SHAPECLASSNAME" val="LowerTriangle"/>
  <p:tag name="SHAPECLASSPROTECTIONTYPE" val="15"/>
  <p:tag name="SHAPESETCLASSNAME" val="TitleSupergraphic1"/>
  <p:tag name="SHAPESETGROUPCLASSNAME" val="ShapeSetGroup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COLORSETGROUPCLASSNAME" val="ColorSetGroup1"/>
  <p:tag name="FONTSETGROUPCLASSNAME" val="FontSetGroup1"/>
  <p:tag name="MLI" val="1"/>
  <p:tag name="SHAPECLASSNAME" val="UpperTriangle"/>
  <p:tag name="SHAPECLASSPROTECTIONTYPE" val="15"/>
  <p:tag name="SHAPESETCLASSNAME" val="TitleSupergraphic1"/>
  <p:tag name="SHAPESETGROUPCLASSNAME" val="ShapeSetGroup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1;-2"/>
  <p:tag name="COLORSETCLASSNAME" val="ColorSet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1;-2"/>
  <p:tag name="COLORSETCLASSNAME" val="ColorSet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1;-2"/>
  <p:tag name="COLORSETCLASSNAME" val="ColorSet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1;-2"/>
  <p:tag name="COLORSETCLASSNAME" val="ColorSet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1;-2"/>
  <p:tag name="COLORSETCLASSNAME" val="ColorSet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1;-2"/>
  <p:tag name="COLORSETCLASSNAME" val="ColorSet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1;-2"/>
  <p:tag name="COLORSETCLASSNAME" val="ColorSet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1;-2"/>
  <p:tag name="COLORSETCLASSNAME" val="ColorSet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COLORSETGROUPCLASSNAME" val="ColorSetGroup5"/>
  <p:tag name="FONTSETGROUPCLASSNAME" val="FontSetGroup1"/>
  <p:tag name="MLI" val="1"/>
  <p:tag name="SHAPECLASSFILE" val="BoschLogo2016.emf"/>
  <p:tag name="SHAPECLASSNAME" val="LogoOnSlides"/>
  <p:tag name="SHAPECLASSPROTECTIONTYPE" val="15"/>
  <p:tag name="SHAPESETCLASSNAME" val="TitleSupergraphic1"/>
  <p:tag name="SHAPESETGROUPCLASSNAME" val="ShapeSetGroup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1;-2"/>
  <p:tag name="COLORSETCLASSNAME" val="ColorSet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1;-2"/>
  <p:tag name="COLORSETCLASSNAME" val="ColorSet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1;-2"/>
  <p:tag name="COLORSETCLASSNAME" val="ColorSet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1;-2"/>
  <p:tag name="COLORSETCLASSNAME" val="ColorSet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1;-2"/>
  <p:tag name="COLORSETCLASSNAME" val="ColorSet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1;-2"/>
  <p:tag name="COLORSETCLASSNAME" val="ColorSet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Accent1;-2;-2;-2;-2;-2"/>
  <p:tag name="COLORSETCLASSNAME" val="ColorSet1"/>
  <p:tag name="COLORSETGROUPCLASSNAME" val="ColorSetGroup1"/>
  <p:tag name="FONTSETGROUPCLASSNAME" val="FontSetGroup1"/>
  <p:tag name="ML_SENDTOBACK" val=" 1"/>
  <p:tag name="MLI" val="1"/>
  <p:tag name="SHAPECLASSNAME" val="TitlePic2"/>
  <p:tag name="SHAPECLASSPROTECTIONTYPE" val="3"/>
  <p:tag name="SHAPESETCLASSNAME" val="TitleSupergraphic2"/>
  <p:tag name="SHAPESETGROUPCLASSNAME" val="ShapeSetGroup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COLORSETGROUPCLASSNAME" val="ColorSetGroup1"/>
  <p:tag name="FONTSETGROUPCLASSNAME" val="FontSetGroup1"/>
  <p:tag name="MLI" val="1"/>
  <p:tag name="SHAPECLASSNAME" val="LowerTriangle"/>
  <p:tag name="SHAPECLASSPROTECTIONTYPE" val="15"/>
  <p:tag name="SHAPESETCLASSNAME" val="TitleSupergraphic1"/>
  <p:tag name="SHAPESETGROUPCLASSNAME" val="ShapeSetGroup1"/>
</p:tagLst>
</file>

<file path=ppt/theme/theme1.xml><?xml version="1.0" encoding="utf-8"?>
<a:theme xmlns:a="http://schemas.openxmlformats.org/drawingml/2006/main" name="Bosch NG">
  <a:themeElements>
    <a:clrScheme name="Bosch Blau">
      <a:dk1>
        <a:sysClr val="windowText" lastClr="000000"/>
      </a:dk1>
      <a:lt1>
        <a:sysClr val="window" lastClr="FFFFFF"/>
      </a:lt1>
      <a:dk2>
        <a:srgbClr val="424C58"/>
      </a:dk2>
      <a:lt2>
        <a:srgbClr val="B2B3B5"/>
      </a:lt2>
      <a:accent1>
        <a:srgbClr val="007BC0"/>
      </a:accent1>
      <a:accent2>
        <a:srgbClr val="004975"/>
      </a:accent2>
      <a:accent3>
        <a:srgbClr val="007BC0"/>
      </a:accent3>
      <a:accent4>
        <a:srgbClr val="004975"/>
      </a:accent4>
      <a:accent5>
        <a:srgbClr val="007BC0"/>
      </a:accent5>
      <a:accent6>
        <a:srgbClr val="004975"/>
      </a:accent6>
      <a:hlink>
        <a:srgbClr val="738CB4"/>
      </a:hlink>
      <a:folHlink>
        <a:srgbClr val="B0BBD0"/>
      </a:folHlink>
    </a:clrScheme>
    <a:fontScheme name="Bosch">
      <a:majorFont>
        <a:latin typeface="Bosch Office Sans"/>
        <a:ea typeface=""/>
        <a:cs typeface=""/>
      </a:majorFont>
      <a:minorFont>
        <a:latin typeface="Bosch Office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9525" cap="flat" cmpd="sng" algn="ctr">
          <a:solidFill>
            <a:srgbClr val="3F136C"/>
          </a:solidFill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Bosch Office Sans"/>
            <a:ea typeface="+mn-ea"/>
            <a:cs typeface="+mn-cs"/>
          </a:defRPr>
        </a:defPPr>
      </a:lstStyle>
    </a:spDef>
    <a:txDef>
      <a:spPr>
        <a:noFill/>
      </a:spPr>
      <a:bodyPr wrap="square" lIns="0" tIns="0" rIns="0" bIns="0" rtlCol="0">
        <a:noAutofit/>
      </a:bodyPr>
      <a:lstStyle>
        <a:defPPr marR="0" algn="l" defTabSz="914400" eaLnBrk="1" fontAlgn="auto" latinLnBrk="0" hangingPunct="1">
          <a:spcBef>
            <a:spcPts val="50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smtClean="0">
            <a:ln>
              <a:noFill/>
            </a:ln>
            <a:solidFill>
              <a:srgbClr val="000000"/>
            </a:solidFill>
            <a:effectLst/>
            <a:uLnTx/>
            <a:uFillTx/>
          </a:defRPr>
        </a:defPPr>
      </a:lstStyle>
    </a:txDef>
  </a:objectDefaults>
  <a:extraClrSchemeLst/>
  <a:custClrLst>
    <a:custClr name="Bosch Red 50">
      <a:srgbClr val="ED0007"/>
    </a:custClr>
    <a:custClr name="Bosch Purple 40">
      <a:srgbClr val="9E2896"/>
    </a:custClr>
    <a:custClr name="Bosch Purple 20">
      <a:srgbClr val="551151"/>
    </a:custClr>
    <a:custClr name="Bosch Blue 50">
      <a:srgbClr val="007BC0"/>
    </a:custClr>
    <a:custClr name="Bosch Blue 30">
      <a:srgbClr val="004975"/>
    </a:custClr>
    <a:custClr name="Bosch Turquoise 50">
      <a:srgbClr val="18837E"/>
    </a:custClr>
    <a:custClr name="Bosch Turquoise 30">
      <a:srgbClr val="0A4F4B"/>
    </a:custClr>
    <a:custClr name="Bosch Green 50">
      <a:srgbClr val="00884A"/>
    </a:custClr>
    <a:custClr name="Bosch Green 30">
      <a:srgbClr val="00512A"/>
    </a:custClr>
    <a:custClr name="Bosch Gray 50">
      <a:srgbClr val="71767C"/>
    </a:custClr>
  </a:custClrLst>
  <a:extLst>
    <a:ext uri="{05A4C25C-085E-4340-85A3-A5531E510DB2}">
      <thm15:themeFamily xmlns:thm15="http://schemas.microsoft.com/office/thememl/2012/main" name="template1.potx" id="{52779E17-DA50-4443-9CCA-C57129DBFB53}" vid="{CBD1DA7C-47F9-4AE4-B1E4-E762B597D2F3}"/>
    </a:ext>
  </a:extLst>
</a:theme>
</file>

<file path=ppt/theme/theme2.xml><?xml version="1.0" encoding="utf-8"?>
<a:theme xmlns:a="http://schemas.openxmlformats.org/drawingml/2006/main" name="Rexroth NG">
  <a:themeElements>
    <a:clrScheme name="Rexroth">
      <a:dk1>
        <a:srgbClr val="000000"/>
      </a:dk1>
      <a:lt1>
        <a:srgbClr val="FFFFFF"/>
      </a:lt1>
      <a:dk2>
        <a:srgbClr val="424C58"/>
      </a:dk2>
      <a:lt2>
        <a:srgbClr val="B2B3B5"/>
      </a:lt2>
      <a:accent1>
        <a:srgbClr val="002B49"/>
      </a:accent1>
      <a:accent2>
        <a:srgbClr val="00CCFF"/>
      </a:accent2>
      <a:accent3>
        <a:srgbClr val="A3BAC8"/>
      </a:accent3>
      <a:accent4>
        <a:srgbClr val="91F0FF"/>
      </a:accent4>
      <a:accent5>
        <a:srgbClr val="5A7C91"/>
      </a:accent5>
      <a:accent6>
        <a:srgbClr val="DF0024"/>
      </a:accent6>
      <a:hlink>
        <a:srgbClr val="002B49"/>
      </a:hlink>
      <a:folHlink>
        <a:srgbClr val="5A7C91"/>
      </a:folHlink>
    </a:clrScheme>
    <a:fontScheme name="Bosch">
      <a:majorFont>
        <a:latin typeface="Bosch Office Sans"/>
        <a:ea typeface=""/>
        <a:cs typeface=""/>
      </a:majorFont>
      <a:minorFont>
        <a:latin typeface="Bosch Office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9525" cap="flat" cmpd="sng" algn="ctr">
          <a:solidFill>
            <a:srgbClr val="3F136C"/>
          </a:solidFill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Bosch Office Sans"/>
            <a:ea typeface="+mn-ea"/>
            <a:cs typeface="+mn-cs"/>
          </a:defRPr>
        </a:defPPr>
      </a:lstStyle>
    </a:spDef>
    <a:txDef>
      <a:spPr>
        <a:noFill/>
      </a:spPr>
      <a:bodyPr wrap="square" lIns="0" tIns="0" rIns="0" bIns="0" rtlCol="0">
        <a:noAutofit/>
      </a:bodyPr>
      <a:lstStyle>
        <a:defPPr marR="0" defTabSz="914400" eaLnBrk="1" fontAlgn="auto" latinLnBrk="0" hangingPunct="1">
          <a:lnSpc>
            <a:spcPts val="2300"/>
          </a:lnSpc>
          <a:spcBef>
            <a:spcPts val="50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mplate1.potx" id="{8B176E1F-6DF7-4CE9-9A73-A09FD1E168E1}" vid="{661608C3-E334-42D7-9F81-CEB3D4D4B2CB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ABFFFF81C138B408411E7E0E6DA69FC" ma:contentTypeVersion="4" ma:contentTypeDescription="Create a new document." ma:contentTypeScope="" ma:versionID="7ac2866eaf7460ded1b6dace6bd893b6">
  <xsd:schema xmlns:xsd="http://www.w3.org/2001/XMLSchema" xmlns:xs="http://www.w3.org/2001/XMLSchema" xmlns:p="http://schemas.microsoft.com/office/2006/metadata/properties" xmlns:ns2="3fa1ed80-a362-4e07-a8ce-fe9f7307f059" targetNamespace="http://schemas.microsoft.com/office/2006/metadata/properties" ma:root="true" ma:fieldsID="40845a0771fea7f24e5a59582026d577" ns2:_="">
    <xsd:import namespace="3fa1ed80-a362-4e07-a8ce-fe9f7307f0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a1ed80-a362-4e07-a8ce-fe9f7307f05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saxML>
  <saxMLTemplate>presentation_169</saxMLTemplate>
  <Variablen>
    <Variable>
      <Name>attachmentremark</Name>
      <OrgInhalt/>
      <Wert/>
      <Platzhalter>False</Platzhalter>
      <DocDatenDialog>True</DocDatenDialog>
      <Label>Attachment</Label>
      <FrageVar>False</FrageVar>
      <Prefix/>
      <Suffix/>
      <WegfallVar/>
      <MussFeld>False</MussFeld>
      <InDokument>True</InDokument>
      <Sektion>Rectangle7</Sektion>
      <Reihenfolge>0</Reihenfolge>
    </Variable>
    <Variable>
      <Name>departmentshort</Name>
      <OrgInhalt>SO/OPM11-VH</OrgInhalt>
      <Wert/>
      <Platzhalter>False</Platzhalter>
      <DocDatenDialog>True</DocDatenDialog>
      <Label>Authoring</Label>
      <FrageVar>False</FrageVar>
      <Prefix/>
      <Suffix/>
      <WegfallVar/>
      <MussFeld>False</MussFeld>
      <Trenner>
        <VariableVor>confidentiality</VariableVor>
        <VariableVor>businessunit</VariableVor>
        <Zwischen> | </Zwischen>
        <VariableNach>departmentshort</VariableNach>
      </Trenner>
      <InDokument>True</InDokument>
      <Sektion>Bosch_footer_1</Sektion>
      <Reihenfolge/>
    </Variable>
    <Variable>
      <Name>confidentiality</Name>
      <OrgInhalt>Internal</OrgInhalt>
      <Wert>Internal</Wert>
      <Platzhalter>False</Platzhalter>
      <DocDatenDialog>True</DocDatenDialog>
      <Label>Notation of confidentiality</Label>
      <FrageVar>False</FrageVar>
      <Prefix/>
      <Suffix/>
      <WegfallVar/>
      <ComboBox>
        <Option>Internal</Option>
        <Option>Confidential</Option>
        <Option>Strictly confidential</Option>
        <Option/>
      </ComboBox>
      <MussFeld>False</MussFeld>
      <InDokument>True</InDokument>
      <Sektion>Bosch_footer_1</Sektion>
      <Reihenfolge>0</Reihenfolge>
    </Variable>
    <Variable>
      <Name>copyright</Name>
      <OrgInhalt>© Bosch Global Software Technologies Company Limited 2022. All rights reserved, also regarding any disposal, exploitation, reproduction, editing, distribution, as well as in the event of applications for industrial property rights.</OrgInhalt>
      <Wert>© Bosch Global Software Technologies Company Limited 2022. All rights reserved, also regarding any disposal, exploitation, reproduction, editing, distribution, as well as in the event of applications for industrial property rights.</Wert>
      <Platzhalter>False</Platzhalter>
      <DocDatenDialog>False</DocDatenDialog>
      <Label>$tr_copyright$</Label>
      <FrageVar>False</FrageVar>
      <Prefix/>
      <Suffix/>
      <WegfallVar/>
      <MussFeld>False</MussFeld>
      <Trenner>
        <VariableVor>repositoryremark</VariableVor>
        <Zwischen>&lt;br&gt;</Zwischen>
        <VariableNach>copyright</VariableNach>
      </Trenner>
      <InDokument>True</InDokument>
      <Sektion>Bosch_footer_2</Sektion>
      <Reihenfolge/>
    </Variable>
    <Variable>
      <Name>dateformat</Name>
      <OrgInhalt>2022-01-13</OrgInhalt>
      <Wert/>
      <Platzhalter>False</Platzhalter>
      <DocDatenDialog>True</DocDatenDialog>
      <Label>Date</Label>
      <FrageVar>False</FrageVar>
      <Prefix/>
      <Suffix/>
      <WegfallVar/>
      <MussFeld>False</MussFeld>
      <Trenner>
        <VariableVor>departmentshort</VariableVor>
        <VariableVor>confidentiality</VariableVor>
        <VariableVor>businessunit</VariableVor>
        <Zwischen> | </Zwischen>
        <VariableNach>dateformat</VariableNach>
      </Trenner>
      <InDokument>True</InDokument>
      <Sektion>Bosch_footer_1</Sektion>
      <Reihenfolge>0</Reihenfolge>
    </Variable>
    <Variable>
      <Name>businessunit</Name>
      <OrgInhalt/>
      <Wert/>
      <Platzhalter>False</Platzhalter>
      <DocDatenDialog>False</DocDatenDialog>
      <Label>$tr_businessunit$</Label>
      <FrageVar>False</FrageVar>
      <Prefix/>
      <Suffix/>
      <WegfallVar/>
      <MussFeld>False</MussFeld>
      <Trenner>
        <VariableVor>confidentiality</VariableVor>
        <Zwischen> | </Zwischen>
        <VariableNach>businessunit</VariableNach>
      </Trenner>
      <InDokument>True</InDokument>
      <Sektion>Bosch_footer_1</Sektion>
      <Reihenfolge>0</Reihenfolge>
    </Variable>
    <Variable>
      <Name>repositoryremark</Name>
      <OrgInhalt/>
      <Wert/>
      <Platzhalter>False</Platzhalter>
      <DocDatenDialog>True</DocDatenDialog>
      <Label>Filing note</Label>
      <FrageVar>False</FrageVar>
      <Prefix/>
      <Suffix/>
      <WegfallVar/>
      <MussFeld>False</MussFeld>
      <InDokument>True</InDokument>
      <Sektion>Bosch_footer_2</Sektion>
      <Reihenfolge>0</Reihenfolge>
    </Variable>
  </Variablen>
</saxML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sax_Colors>
  <Line size="7">
    <Color val="9e2896" tooltip="Bosch Purple 40"/>
    <Color val="551151" tooltip="Bosch Purple 20"/>
  </Line>
  <Line size="7">
    <Color val="007bc0" tooltip="Bosch Blue 50"/>
    <Color val="004975" tooltip="Bosch Blue 30"/>
  </Line>
  <Line size="7">
    <Color val="18837e" tooltip="Bosch Turquoise 50"/>
    <Color val="0a4f4b" tooltip="Bosch Turquoise 30"/>
  </Line>
  <Line size="7">
    <Color val="00884a" tooltip="Bosch Green 50"/>
    <Color val="00512a" tooltip="Bosch Green 30"/>
  </Line>
</sax_Colors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D773FF9-C156-4397-96C7-296B2C3046D5}">
  <ds:schemaRefs>
    <ds:schemaRef ds:uri="3fa1ed80-a362-4e07-a8ce-fe9f7307f0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B75C50A-5687-4EEB-9584-DFD2C5B277D8}">
  <ds:schemaRefs/>
</ds:datastoreItem>
</file>

<file path=customXml/itemProps3.xml><?xml version="1.0" encoding="utf-8"?>
<ds:datastoreItem xmlns:ds="http://schemas.openxmlformats.org/officeDocument/2006/customXml" ds:itemID="{FC1DF94C-14FF-4E5A-8C19-C148313095F3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D0252559-44F8-474C-B66D-E357B88E32C2}">
  <ds:schemaRefs/>
</ds:datastoreItem>
</file>

<file path=customXml/itemProps5.xml><?xml version="1.0" encoding="utf-8"?>
<ds:datastoreItem xmlns:ds="http://schemas.openxmlformats.org/officeDocument/2006/customXml" ds:itemID="{AF786B19-0EE2-4270-A6CA-EB561BD962D8}">
  <ds:schemaRefs>
    <ds:schemaRef ds:uri="246bc85a-6c1c-4af1-abd0-106ff9ca9da2"/>
    <ds:schemaRef ds:uri="dc05b1f8-2dad-466f-b7af-aad3bffe8749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LuxaOSLuxaMatrix_MRP_2025</Template>
  <TotalTime>0</TotalTime>
  <Words>2008</Words>
  <Application>Microsoft Office PowerPoint</Application>
  <PresentationFormat>Custom</PresentationFormat>
  <Paragraphs>509</Paragraphs>
  <Slides>24</Slides>
  <Notes>4</Notes>
  <HiddenSlides>4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41" baseType="lpstr">
      <vt:lpstr>Arial</vt:lpstr>
      <vt:lpstr>Arial Unicode MS</vt:lpstr>
      <vt:lpstr>Bosch Office Sans</vt:lpstr>
      <vt:lpstr>Bosch Sans Black</vt:lpstr>
      <vt:lpstr>Bosch Sans Bold</vt:lpstr>
      <vt:lpstr>Calibri</vt:lpstr>
      <vt:lpstr>Georgia Pro Light</vt:lpstr>
      <vt:lpstr>Open Sans</vt:lpstr>
      <vt:lpstr>Open Sans Bold</vt:lpstr>
      <vt:lpstr>Roboto</vt:lpstr>
      <vt:lpstr>Segoe</vt:lpstr>
      <vt:lpstr>Tahoma</vt:lpstr>
      <vt:lpstr>Wingdings</vt:lpstr>
      <vt:lpstr>Wingdings 3</vt:lpstr>
      <vt:lpstr>Bosch NG</vt:lpstr>
      <vt:lpstr>Rexroth NG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C-JS – Support From BGSW </vt:lpstr>
      <vt:lpstr>PowerPoint Presentation</vt:lpstr>
      <vt:lpstr>PowerPoint Presentation</vt:lpstr>
      <vt:lpstr>LUXAMatrix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CD 2025</vt:lpstr>
      <vt:lpstr>PowerPoint Presentation</vt:lpstr>
      <vt:lpstr>PowerPoint Presentation</vt:lpstr>
      <vt:lpstr>PowerPoint Presentation</vt:lpstr>
      <vt:lpstr>PowerPoint Presentation</vt:lpstr>
      <vt:lpstr>  </vt:lpstr>
      <vt:lpstr>PowerPoint Presentation</vt:lpstr>
      <vt:lpstr>PowerPoint Presentation</vt:lpstr>
    </vt:vector>
  </TitlesOfParts>
  <Company>Bosch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IXED-TERM Jaiswal Yash Vardhan (BGSW/PJ-ETA-H)</dc:creator>
  <cp:lastModifiedBy>FIXED-TERM Jaiswal Yash Vardhan (BGSW/PJ-ETA-H)</cp:lastModifiedBy>
  <cp:revision>1</cp:revision>
  <dcterms:created xsi:type="dcterms:W3CDTF">2026-01-19T09:17:07Z</dcterms:created>
  <dcterms:modified xsi:type="dcterms:W3CDTF">2026-01-19T09:17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ttachmentremark">
    <vt:lpwstr>$attachmentremark$</vt:lpwstr>
  </property>
  <property fmtid="{D5CDD505-2E9C-101B-9397-08002B2CF9AE}" pid="3" name="confidentiality">
    <vt:lpwstr>$confidentiality_internal$</vt:lpwstr>
  </property>
  <property fmtid="{D5CDD505-2E9C-101B-9397-08002B2CF9AE}" pid="4" name="copyright">
    <vt:lpwstr>$copyright$</vt:lpwstr>
  </property>
  <property fmtid="{D5CDD505-2E9C-101B-9397-08002B2CF9AE}" pid="5" name="dateformat">
    <vt:lpwstr>$dateformat$</vt:lpwstr>
  </property>
  <property fmtid="{D5CDD505-2E9C-101B-9397-08002B2CF9AE}" pid="6" name="businessunit">
    <vt:lpwstr>$businessunit$</vt:lpwstr>
  </property>
  <property fmtid="{D5CDD505-2E9C-101B-9397-08002B2CF9AE}" pid="7" name="repositoryremark">
    <vt:lpwstr>$repositoryremark$</vt:lpwstr>
  </property>
  <property fmtid="{D5CDD505-2E9C-101B-9397-08002B2CF9AE}" pid="8" name="ContentTypeId">
    <vt:lpwstr>0x010100FF8F429725F716409648AD64810BC577</vt:lpwstr>
  </property>
  <property fmtid="{D5CDD505-2E9C-101B-9397-08002B2CF9AE}" pid="9" name="PL">
    <vt:lpwstr/>
  </property>
  <property fmtid="{D5CDD505-2E9C-101B-9397-08002B2CF9AE}" pid="10" name="KAT">
    <vt:lpwstr/>
  </property>
  <property fmtid="{D5CDD505-2E9C-101B-9397-08002B2CF9AE}" pid="11" name="PG">
    <vt:lpwstr/>
  </property>
</Properties>
</file>